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4"/>
    <p:sldMasterId id="2147483706" r:id="rId5"/>
    <p:sldMasterId id="2147483737" r:id="rId6"/>
  </p:sldMasterIdLst>
  <p:notesMasterIdLst>
    <p:notesMasterId r:id="rId8"/>
  </p:notesMasterIdLst>
  <p:handoutMasterIdLst>
    <p:handoutMasterId r:id="rId9"/>
  </p:handoutMasterIdLst>
  <p:sldIdLst>
    <p:sldId id="2147481528" r:id="rId7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3" orient="horz" pos="3784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8" orient="horz" pos="3271" userDrawn="1">
          <p15:clr>
            <a:srgbClr val="A4A3A4"/>
          </p15:clr>
        </p15:guide>
        <p15:guide id="9" orient="horz" pos="1253">
          <p15:clr>
            <a:srgbClr val="A4A3A4"/>
          </p15:clr>
        </p15:guide>
        <p15:guide id="10" pos="5952">
          <p15:clr>
            <a:srgbClr val="A4A3A4"/>
          </p15:clr>
        </p15:guide>
        <p15:guide id="14" pos="72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EBEDF4"/>
    <a:srgbClr val="EDEFF5"/>
    <a:srgbClr val="94EFE3"/>
    <a:srgbClr val="E74B00"/>
    <a:srgbClr val="565E61"/>
    <a:srgbClr val="FF0000"/>
    <a:srgbClr val="575E62"/>
    <a:srgbClr val="333333"/>
    <a:srgbClr val="CC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53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954" y="96"/>
      </p:cViewPr>
      <p:guideLst>
        <p:guide orient="horz" pos="2160"/>
        <p:guide orient="horz" pos="3784"/>
        <p:guide orient="horz" pos="935"/>
        <p:guide orient="horz" pos="3271"/>
        <p:guide orient="horz" pos="1253"/>
        <p:guide pos="5952"/>
        <p:guide pos="725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ure, Didier" userId="791ba54c-1f49-4f2e-b537-01eab0413206" providerId="ADAL" clId="{B2C86829-31FB-4452-8A9C-0BA45D37824B}"/>
    <pc:docChg chg="undo custSel addSld delSld modSld delMainMaster">
      <pc:chgData name="Faure, Didier" userId="791ba54c-1f49-4f2e-b537-01eab0413206" providerId="ADAL" clId="{B2C86829-31FB-4452-8A9C-0BA45D37824B}" dt="2025-10-24T16:50:03.587" v="21" actId="207"/>
      <pc:docMkLst>
        <pc:docMk/>
      </pc:docMkLst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4193791004" sldId="256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1209099761" sldId="257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76746634" sldId="258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2397911690" sldId="382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585076306" sldId="2147375199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998103893" sldId="2147375200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2512634463" sldId="2147376960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375710816" sldId="2147376961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2737126755" sldId="2147377035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1130956849" sldId="2147377036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889037105" sldId="2147377055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4000004839" sldId="2147476634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687651431" sldId="2147476641"/>
        </pc:sldMkLst>
      </pc:sldChg>
      <pc:sldChg chg="del">
        <pc:chgData name="Faure, Didier" userId="791ba54c-1f49-4f2e-b537-01eab0413206" providerId="ADAL" clId="{B2C86829-31FB-4452-8A9C-0BA45D37824B}" dt="2025-10-20T12:17:48.705" v="0" actId="47"/>
        <pc:sldMkLst>
          <pc:docMk/>
          <pc:sldMk cId="331800819" sldId="2147476642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1838250905" sldId="2147476643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2144450813" sldId="2147476644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1388647679" sldId="2147476645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603977334" sldId="2147476646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562233701" sldId="2147481519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345766336" sldId="2147481521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2008759033" sldId="2147481522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188738282" sldId="2147481525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624824595" sldId="2147481526"/>
        </pc:sldMkLst>
      </pc:sldChg>
      <pc:sldChg chg="modSp mod">
        <pc:chgData name="Faure, Didier" userId="791ba54c-1f49-4f2e-b537-01eab0413206" providerId="ADAL" clId="{B2C86829-31FB-4452-8A9C-0BA45D37824B}" dt="2025-10-20T12:22:47.196" v="2" actId="113"/>
        <pc:sldMkLst>
          <pc:docMk/>
          <pc:sldMk cId="78212444" sldId="2147481528"/>
        </pc:sldMkLst>
      </pc:sldChg>
      <pc:sldChg chg="del">
        <pc:chgData name="Faure, Didier" userId="791ba54c-1f49-4f2e-b537-01eab0413206" providerId="ADAL" clId="{B2C86829-31FB-4452-8A9C-0BA45D37824B}" dt="2025-10-20T12:17:48.705" v="0" actId="47"/>
        <pc:sldMkLst>
          <pc:docMk/>
          <pc:sldMk cId="520824321" sldId="2147481529"/>
        </pc:sldMkLst>
      </pc:sldChg>
      <pc:sldChg chg="addSp delSp modSp add mod">
        <pc:chgData name="Faure, Didier" userId="791ba54c-1f49-4f2e-b537-01eab0413206" providerId="ADAL" clId="{B2C86829-31FB-4452-8A9C-0BA45D37824B}" dt="2025-10-24T16:50:03.587" v="21" actId="207"/>
        <pc:sldMkLst>
          <pc:docMk/>
          <pc:sldMk cId="4164471509" sldId="2147481529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355460203" sldId="2147481530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913440041" sldId="2147481537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148180158" sldId="2147481538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4275293963" sldId="2147481540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356405" sldId="2147481541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964866209" sldId="2147481542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2484253867" sldId="2147481543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995661505" sldId="2147482765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1591741555" sldId="2147483497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974716390" sldId="2147483498"/>
        </pc:sldMkLst>
      </pc:sldChg>
      <pc:sldChg chg="del">
        <pc:chgData name="Faure, Didier" userId="791ba54c-1f49-4f2e-b537-01eab0413206" providerId="ADAL" clId="{B2C86829-31FB-4452-8A9C-0BA45D37824B}" dt="2025-10-20T12:17:48.705" v="0" actId="47"/>
        <pc:sldMkLst>
          <pc:docMk/>
          <pc:sldMk cId="3556982691" sldId="2147483499"/>
        </pc:sldMkLst>
      </pc:sldChg>
      <pc:sldChg chg="del">
        <pc:chgData name="Faure, Didier" userId="791ba54c-1f49-4f2e-b537-01eab0413206" providerId="ADAL" clId="{B2C86829-31FB-4452-8A9C-0BA45D37824B}" dt="2025-10-20T12:17:48.705" v="0" actId="47"/>
        <pc:sldMkLst>
          <pc:docMk/>
          <pc:sldMk cId="3655647678" sldId="2147483500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1918574426" sldId="2147483501"/>
        </pc:sldMkLst>
      </pc:sldChg>
      <pc:sldChg chg="del">
        <pc:chgData name="Faure, Didier" userId="791ba54c-1f49-4f2e-b537-01eab0413206" providerId="ADAL" clId="{B2C86829-31FB-4452-8A9C-0BA45D37824B}" dt="2025-10-20T12:17:48.705" v="0" actId="47"/>
        <pc:sldMkLst>
          <pc:docMk/>
          <pc:sldMk cId="353467309" sldId="2147483502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920888394" sldId="2147483503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2214526503" sldId="2147483504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463442557" sldId="2147483506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1335935538" sldId="2147483507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852938723" sldId="2147483508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4193027037" sldId="2147483509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957879004" sldId="2147483510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2942114097" sldId="2147483511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2047031061" sldId="2147483512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4077143266" sldId="2147483513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2569640942" sldId="2147483514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691523784" sldId="2147483515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350281586" sldId="2147483516"/>
        </pc:sldMkLst>
      </pc:sldChg>
      <pc:sldChg chg="del">
        <pc:chgData name="Faure, Didier" userId="791ba54c-1f49-4f2e-b537-01eab0413206" providerId="ADAL" clId="{B2C86829-31FB-4452-8A9C-0BA45D37824B}" dt="2025-10-20T12:18:00.330" v="1" actId="47"/>
        <pc:sldMkLst>
          <pc:docMk/>
          <pc:sldMk cId="3467680928" sldId="2147483517"/>
        </pc:sldMkLst>
      </pc:sldChg>
      <pc:sldMasterChg chg="delSldLayout">
        <pc:chgData name="Faure, Didier" userId="791ba54c-1f49-4f2e-b537-01eab0413206" providerId="ADAL" clId="{B2C86829-31FB-4452-8A9C-0BA45D37824B}" dt="2025-10-20T12:18:00.330" v="1" actId="47"/>
        <pc:sldMasterMkLst>
          <pc:docMk/>
          <pc:sldMasterMk cId="4281836575" sldId="2147483697"/>
        </pc:sldMasterMkLst>
        <pc:sldLayoutChg chg="del">
          <pc:chgData name="Faure, Didier" userId="791ba54c-1f49-4f2e-b537-01eab0413206" providerId="ADAL" clId="{B2C86829-31FB-4452-8A9C-0BA45D37824B}" dt="2025-10-20T12:18:00.330" v="1" actId="47"/>
          <pc:sldLayoutMkLst>
            <pc:docMk/>
            <pc:sldMasterMk cId="4281836575" sldId="2147483697"/>
            <pc:sldLayoutMk cId="370818350" sldId="2147483720"/>
          </pc:sldLayoutMkLst>
        </pc:sldLayoutChg>
        <pc:sldLayoutChg chg="del">
          <pc:chgData name="Faure, Didier" userId="791ba54c-1f49-4f2e-b537-01eab0413206" providerId="ADAL" clId="{B2C86829-31FB-4452-8A9C-0BA45D37824B}" dt="2025-10-20T12:17:48.705" v="0" actId="47"/>
          <pc:sldLayoutMkLst>
            <pc:docMk/>
            <pc:sldMasterMk cId="4281836575" sldId="2147483697"/>
            <pc:sldLayoutMk cId="629709471" sldId="2147483722"/>
          </pc:sldLayoutMkLst>
        </pc:sldLayoutChg>
      </pc:sldMasterChg>
      <pc:sldMasterChg chg="delSldLayout">
        <pc:chgData name="Faure, Didier" userId="791ba54c-1f49-4f2e-b537-01eab0413206" providerId="ADAL" clId="{B2C86829-31FB-4452-8A9C-0BA45D37824B}" dt="2025-10-20T12:18:00.330" v="1" actId="47"/>
        <pc:sldMasterMkLst>
          <pc:docMk/>
          <pc:sldMasterMk cId="589656013" sldId="2147483706"/>
        </pc:sldMasterMkLst>
        <pc:sldLayoutChg chg="del">
          <pc:chgData name="Faure, Didier" userId="791ba54c-1f49-4f2e-b537-01eab0413206" providerId="ADAL" clId="{B2C86829-31FB-4452-8A9C-0BA45D37824B}" dt="2025-10-20T12:18:00.330" v="1" actId="47"/>
          <pc:sldLayoutMkLst>
            <pc:docMk/>
            <pc:sldMasterMk cId="589656013" sldId="2147483706"/>
            <pc:sldLayoutMk cId="2880455556" sldId="2147483715"/>
          </pc:sldLayoutMkLst>
        </pc:sldLayoutChg>
        <pc:sldLayoutChg chg="del">
          <pc:chgData name="Faure, Didier" userId="791ba54c-1f49-4f2e-b537-01eab0413206" providerId="ADAL" clId="{B2C86829-31FB-4452-8A9C-0BA45D37824B}" dt="2025-10-20T12:18:00.330" v="1" actId="47"/>
          <pc:sldLayoutMkLst>
            <pc:docMk/>
            <pc:sldMasterMk cId="589656013" sldId="2147483706"/>
            <pc:sldLayoutMk cId="3149681848" sldId="2147483721"/>
          </pc:sldLayoutMkLst>
        </pc:sldLayoutChg>
      </pc:sldMasterChg>
      <pc:sldMasterChg chg="del delSldLayout">
        <pc:chgData name="Faure, Didier" userId="791ba54c-1f49-4f2e-b537-01eab0413206" providerId="ADAL" clId="{B2C86829-31FB-4452-8A9C-0BA45D37824B}" dt="2025-10-20T12:18:00.330" v="1" actId="47"/>
        <pc:sldMasterMkLst>
          <pc:docMk/>
          <pc:sldMasterMk cId="3525654375" sldId="2147483725"/>
        </pc:sldMasterMkLst>
        <pc:sldLayoutChg chg="del">
          <pc:chgData name="Faure, Didier" userId="791ba54c-1f49-4f2e-b537-01eab0413206" providerId="ADAL" clId="{B2C86829-31FB-4452-8A9C-0BA45D37824B}" dt="2025-10-20T12:18:00.330" v="1" actId="47"/>
          <pc:sldLayoutMkLst>
            <pc:docMk/>
            <pc:sldMasterMk cId="3525654375" sldId="2147483725"/>
            <pc:sldLayoutMk cId="1029387165" sldId="2147483726"/>
          </pc:sldLayoutMkLst>
        </pc:sldLayoutChg>
        <pc:sldLayoutChg chg="del">
          <pc:chgData name="Faure, Didier" userId="791ba54c-1f49-4f2e-b537-01eab0413206" providerId="ADAL" clId="{B2C86829-31FB-4452-8A9C-0BA45D37824B}" dt="2025-10-20T12:18:00.330" v="1" actId="47"/>
          <pc:sldLayoutMkLst>
            <pc:docMk/>
            <pc:sldMasterMk cId="3525654375" sldId="2147483725"/>
            <pc:sldLayoutMk cId="3132728232" sldId="2147483727"/>
          </pc:sldLayoutMkLst>
        </pc:sldLayoutChg>
        <pc:sldLayoutChg chg="del">
          <pc:chgData name="Faure, Didier" userId="791ba54c-1f49-4f2e-b537-01eab0413206" providerId="ADAL" clId="{B2C86829-31FB-4452-8A9C-0BA45D37824B}" dt="2025-10-20T12:18:00.330" v="1" actId="47"/>
          <pc:sldLayoutMkLst>
            <pc:docMk/>
            <pc:sldMasterMk cId="3525654375" sldId="2147483725"/>
            <pc:sldLayoutMk cId="2871212652" sldId="2147483728"/>
          </pc:sldLayoutMkLst>
        </pc:sldLayoutChg>
        <pc:sldLayoutChg chg="del">
          <pc:chgData name="Faure, Didier" userId="791ba54c-1f49-4f2e-b537-01eab0413206" providerId="ADAL" clId="{B2C86829-31FB-4452-8A9C-0BA45D37824B}" dt="2025-10-20T12:18:00.330" v="1" actId="47"/>
          <pc:sldLayoutMkLst>
            <pc:docMk/>
            <pc:sldMasterMk cId="3525654375" sldId="2147483725"/>
            <pc:sldLayoutMk cId="1804580403" sldId="2147483729"/>
          </pc:sldLayoutMkLst>
        </pc:sldLayoutChg>
        <pc:sldLayoutChg chg="del">
          <pc:chgData name="Faure, Didier" userId="791ba54c-1f49-4f2e-b537-01eab0413206" providerId="ADAL" clId="{B2C86829-31FB-4452-8A9C-0BA45D37824B}" dt="2025-10-20T12:18:00.330" v="1" actId="47"/>
          <pc:sldLayoutMkLst>
            <pc:docMk/>
            <pc:sldMasterMk cId="3525654375" sldId="2147483725"/>
            <pc:sldLayoutMk cId="1958097250" sldId="2147483730"/>
          </pc:sldLayoutMkLst>
        </pc:sldLayoutChg>
        <pc:sldLayoutChg chg="del">
          <pc:chgData name="Faure, Didier" userId="791ba54c-1f49-4f2e-b537-01eab0413206" providerId="ADAL" clId="{B2C86829-31FB-4452-8A9C-0BA45D37824B}" dt="2025-10-20T12:18:00.330" v="1" actId="47"/>
          <pc:sldLayoutMkLst>
            <pc:docMk/>
            <pc:sldMasterMk cId="3525654375" sldId="2147483725"/>
            <pc:sldLayoutMk cId="1880099221" sldId="2147483731"/>
          </pc:sldLayoutMkLst>
        </pc:sldLayoutChg>
        <pc:sldLayoutChg chg="del">
          <pc:chgData name="Faure, Didier" userId="791ba54c-1f49-4f2e-b537-01eab0413206" providerId="ADAL" clId="{B2C86829-31FB-4452-8A9C-0BA45D37824B}" dt="2025-10-20T12:18:00.330" v="1" actId="47"/>
          <pc:sldLayoutMkLst>
            <pc:docMk/>
            <pc:sldMasterMk cId="3525654375" sldId="2147483725"/>
            <pc:sldLayoutMk cId="3439115862" sldId="2147483732"/>
          </pc:sldLayoutMkLst>
        </pc:sldLayoutChg>
        <pc:sldLayoutChg chg="del">
          <pc:chgData name="Faure, Didier" userId="791ba54c-1f49-4f2e-b537-01eab0413206" providerId="ADAL" clId="{B2C86829-31FB-4452-8A9C-0BA45D37824B}" dt="2025-10-20T12:18:00.330" v="1" actId="47"/>
          <pc:sldLayoutMkLst>
            <pc:docMk/>
            <pc:sldMasterMk cId="3525654375" sldId="2147483725"/>
            <pc:sldLayoutMk cId="281548758" sldId="2147483733"/>
          </pc:sldLayoutMkLst>
        </pc:sldLayoutChg>
        <pc:sldLayoutChg chg="del">
          <pc:chgData name="Faure, Didier" userId="791ba54c-1f49-4f2e-b537-01eab0413206" providerId="ADAL" clId="{B2C86829-31FB-4452-8A9C-0BA45D37824B}" dt="2025-10-20T12:18:00.330" v="1" actId="47"/>
          <pc:sldLayoutMkLst>
            <pc:docMk/>
            <pc:sldMasterMk cId="3525654375" sldId="2147483725"/>
            <pc:sldLayoutMk cId="586313452" sldId="2147483734"/>
          </pc:sldLayoutMkLst>
        </pc:sldLayoutChg>
        <pc:sldLayoutChg chg="del">
          <pc:chgData name="Faure, Didier" userId="791ba54c-1f49-4f2e-b537-01eab0413206" providerId="ADAL" clId="{B2C86829-31FB-4452-8A9C-0BA45D37824B}" dt="2025-10-20T12:18:00.330" v="1" actId="47"/>
          <pc:sldLayoutMkLst>
            <pc:docMk/>
            <pc:sldMasterMk cId="3525654375" sldId="2147483725"/>
            <pc:sldLayoutMk cId="1848110131" sldId="2147483735"/>
          </pc:sldLayoutMkLst>
        </pc:sldLayoutChg>
        <pc:sldLayoutChg chg="del">
          <pc:chgData name="Faure, Didier" userId="791ba54c-1f49-4f2e-b537-01eab0413206" providerId="ADAL" clId="{B2C86829-31FB-4452-8A9C-0BA45D37824B}" dt="2025-10-20T12:18:00.330" v="1" actId="47"/>
          <pc:sldLayoutMkLst>
            <pc:docMk/>
            <pc:sldMasterMk cId="3525654375" sldId="2147483725"/>
            <pc:sldLayoutMk cId="1107315572" sldId="2147483736"/>
          </pc:sldLayoutMkLst>
        </pc:sldLayoutChg>
      </pc:sldMasterChg>
    </pc:docChg>
  </pc:docChgLst>
  <pc:docChgLst>
    <pc:chgData name="Faure, Didier" userId="791ba54c-1f49-4f2e-b537-01eab0413206" providerId="ADAL" clId="{FCA551CB-38FB-4C82-9570-91854B657E87}"/>
    <pc:docChg chg="undo custSel addSld delSld modSld">
      <pc:chgData name="Faure, Didier" userId="791ba54c-1f49-4f2e-b537-01eab0413206" providerId="ADAL" clId="{FCA551CB-38FB-4C82-9570-91854B657E87}" dt="2025-12-15T18:28:14.550" v="817" actId="20577"/>
      <pc:docMkLst>
        <pc:docMk/>
      </pc:docMkLst>
      <pc:sldChg chg="addSp delSp modSp mod">
        <pc:chgData name="Faure, Didier" userId="791ba54c-1f49-4f2e-b537-01eab0413206" providerId="ADAL" clId="{FCA551CB-38FB-4C82-9570-91854B657E87}" dt="2025-12-15T18:28:14.550" v="817" actId="20577"/>
        <pc:sldMkLst>
          <pc:docMk/>
          <pc:sldMk cId="78212444" sldId="2147481528"/>
        </pc:sldMkLst>
        <pc:spChg chg="mod">
          <ac:chgData name="Faure, Didier" userId="791ba54c-1f49-4f2e-b537-01eab0413206" providerId="ADAL" clId="{FCA551CB-38FB-4C82-9570-91854B657E87}" dt="2025-12-11T15:38:40.017" v="369" actId="1035"/>
          <ac:spMkLst>
            <pc:docMk/>
            <pc:sldMk cId="78212444" sldId="2147481528"/>
            <ac:spMk id="2" creationId="{4A5946F8-1E9D-5FAD-A650-A80B03EE0147}"/>
          </ac:spMkLst>
        </pc:spChg>
        <pc:spChg chg="mod">
          <ac:chgData name="Faure, Didier" userId="791ba54c-1f49-4f2e-b537-01eab0413206" providerId="ADAL" clId="{FCA551CB-38FB-4C82-9570-91854B657E87}" dt="2025-12-11T15:23:01.599" v="221" actId="1076"/>
          <ac:spMkLst>
            <pc:docMk/>
            <pc:sldMk cId="78212444" sldId="2147481528"/>
            <ac:spMk id="7" creationId="{0F13FEF3-61A6-5747-F768-A1E202BE5E45}"/>
          </ac:spMkLst>
        </pc:spChg>
        <pc:spChg chg="mod">
          <ac:chgData name="Faure, Didier" userId="791ba54c-1f49-4f2e-b537-01eab0413206" providerId="ADAL" clId="{FCA551CB-38FB-4C82-9570-91854B657E87}" dt="2025-12-11T15:39:39.850" v="402" actId="1036"/>
          <ac:spMkLst>
            <pc:docMk/>
            <pc:sldMk cId="78212444" sldId="2147481528"/>
            <ac:spMk id="13" creationId="{41854FA9-A31F-3FA9-E267-950A67641FFA}"/>
          </ac:spMkLst>
        </pc:spChg>
        <pc:spChg chg="add mod ord">
          <ac:chgData name="Faure, Didier" userId="791ba54c-1f49-4f2e-b537-01eab0413206" providerId="ADAL" clId="{FCA551CB-38FB-4C82-9570-91854B657E87}" dt="2025-12-12T09:34:45.474" v="813" actId="14100"/>
          <ac:spMkLst>
            <pc:docMk/>
            <pc:sldMk cId="78212444" sldId="2147481528"/>
            <ac:spMk id="16" creationId="{1F8D284F-6554-0E26-6667-1CE9C5E73150}"/>
          </ac:spMkLst>
        </pc:spChg>
        <pc:spChg chg="add mod">
          <ac:chgData name="Faure, Didier" userId="791ba54c-1f49-4f2e-b537-01eab0413206" providerId="ADAL" clId="{FCA551CB-38FB-4C82-9570-91854B657E87}" dt="2025-12-12T09:33:33.545" v="809" actId="14100"/>
          <ac:spMkLst>
            <pc:docMk/>
            <pc:sldMk cId="78212444" sldId="2147481528"/>
            <ac:spMk id="17" creationId="{C9BD8486-2F7E-CB7C-696F-17DF7322A0EF}"/>
          </ac:spMkLst>
        </pc:spChg>
        <pc:spChg chg="mod ord">
          <ac:chgData name="Faure, Didier" userId="791ba54c-1f49-4f2e-b537-01eab0413206" providerId="ADAL" clId="{FCA551CB-38FB-4C82-9570-91854B657E87}" dt="2025-12-12T09:30:12.232" v="793" actId="166"/>
          <ac:spMkLst>
            <pc:docMk/>
            <pc:sldMk cId="78212444" sldId="2147481528"/>
            <ac:spMk id="24" creationId="{98995659-31F8-8349-C3F6-D9CA1969D416}"/>
          </ac:spMkLst>
        </pc:spChg>
        <pc:spChg chg="mod ord">
          <ac:chgData name="Faure, Didier" userId="791ba54c-1f49-4f2e-b537-01eab0413206" providerId="ADAL" clId="{FCA551CB-38FB-4C82-9570-91854B657E87}" dt="2025-12-11T15:47:29.136" v="481" actId="14100"/>
          <ac:spMkLst>
            <pc:docMk/>
            <pc:sldMk cId="78212444" sldId="2147481528"/>
            <ac:spMk id="26" creationId="{C4AFAA68-E81E-9CEE-59F9-001F03943785}"/>
          </ac:spMkLst>
        </pc:spChg>
        <pc:spChg chg="mod">
          <ac:chgData name="Faure, Didier" userId="791ba54c-1f49-4f2e-b537-01eab0413206" providerId="ADAL" clId="{FCA551CB-38FB-4C82-9570-91854B657E87}" dt="2025-12-11T15:48:07.076" v="483" actId="14100"/>
          <ac:spMkLst>
            <pc:docMk/>
            <pc:sldMk cId="78212444" sldId="2147481528"/>
            <ac:spMk id="27" creationId="{D45D4777-7D8E-4B1A-C03E-748512E11F35}"/>
          </ac:spMkLst>
        </pc:spChg>
        <pc:spChg chg="mod">
          <ac:chgData name="Faure, Didier" userId="791ba54c-1f49-4f2e-b537-01eab0413206" providerId="ADAL" clId="{FCA551CB-38FB-4C82-9570-91854B657E87}" dt="2025-12-11T15:43:42.711" v="461" actId="1037"/>
          <ac:spMkLst>
            <pc:docMk/>
            <pc:sldMk cId="78212444" sldId="2147481528"/>
            <ac:spMk id="30" creationId="{9880753A-A8F5-3AA9-6C0F-656BCF8B2FE6}"/>
          </ac:spMkLst>
        </pc:spChg>
        <pc:spChg chg="add mod ord">
          <ac:chgData name="Faure, Didier" userId="791ba54c-1f49-4f2e-b537-01eab0413206" providerId="ADAL" clId="{FCA551CB-38FB-4C82-9570-91854B657E87}" dt="2025-12-12T09:30:12.232" v="793" actId="166"/>
          <ac:spMkLst>
            <pc:docMk/>
            <pc:sldMk cId="78212444" sldId="2147481528"/>
            <ac:spMk id="31" creationId="{554A81AB-7D07-B912-C858-CC985B7D3326}"/>
          </ac:spMkLst>
        </pc:spChg>
        <pc:spChg chg="mod">
          <ac:chgData name="Faure, Didier" userId="791ba54c-1f49-4f2e-b537-01eab0413206" providerId="ADAL" clId="{FCA551CB-38FB-4C82-9570-91854B657E87}" dt="2025-12-11T15:20:04.098" v="211" actId="20577"/>
          <ac:spMkLst>
            <pc:docMk/>
            <pc:sldMk cId="78212444" sldId="2147481528"/>
            <ac:spMk id="45" creationId="{462D28B0-096D-D35E-8480-2F192B64945A}"/>
          </ac:spMkLst>
        </pc:spChg>
        <pc:spChg chg="mod">
          <ac:chgData name="Faure, Didier" userId="791ba54c-1f49-4f2e-b537-01eab0413206" providerId="ADAL" clId="{FCA551CB-38FB-4C82-9570-91854B657E87}" dt="2025-12-11T15:24:31.027" v="226" actId="255"/>
          <ac:spMkLst>
            <pc:docMk/>
            <pc:sldMk cId="78212444" sldId="2147481528"/>
            <ac:spMk id="52" creationId="{2D983DB6-86B6-2BF3-FCC8-46E7B8EBA5A3}"/>
          </ac:spMkLst>
        </pc:spChg>
        <pc:spChg chg="mod">
          <ac:chgData name="Faure, Didier" userId="791ba54c-1f49-4f2e-b537-01eab0413206" providerId="ADAL" clId="{FCA551CB-38FB-4C82-9570-91854B657E87}" dt="2025-12-15T18:28:14.550" v="817" actId="20577"/>
          <ac:spMkLst>
            <pc:docMk/>
            <pc:sldMk cId="78212444" sldId="2147481528"/>
            <ac:spMk id="60" creationId="{25E502BD-5210-E88A-3E4F-EC45F2B1D2B3}"/>
          </ac:spMkLst>
        </pc:spChg>
        <pc:spChg chg="mod">
          <ac:chgData name="Faure, Didier" userId="791ba54c-1f49-4f2e-b537-01eab0413206" providerId="ADAL" clId="{FCA551CB-38FB-4C82-9570-91854B657E87}" dt="2025-12-11T15:39:45.642" v="403" actId="14100"/>
          <ac:spMkLst>
            <pc:docMk/>
            <pc:sldMk cId="78212444" sldId="2147481528"/>
            <ac:spMk id="71" creationId="{E5A51C88-46E7-2DD5-2451-679ADCAD5F63}"/>
          </ac:spMkLst>
        </pc:spChg>
        <pc:spChg chg="mod ord">
          <ac:chgData name="Faure, Didier" userId="791ba54c-1f49-4f2e-b537-01eab0413206" providerId="ADAL" clId="{FCA551CB-38FB-4C82-9570-91854B657E87}" dt="2025-12-12T09:32:57.441" v="804" actId="167"/>
          <ac:spMkLst>
            <pc:docMk/>
            <pc:sldMk cId="78212444" sldId="2147481528"/>
            <ac:spMk id="77" creationId="{CEB518CC-88F0-C974-99B5-11D72930C682}"/>
          </ac:spMkLst>
        </pc:spChg>
        <pc:spChg chg="mod">
          <ac:chgData name="Faure, Didier" userId="791ba54c-1f49-4f2e-b537-01eab0413206" providerId="ADAL" clId="{FCA551CB-38FB-4C82-9570-91854B657E87}" dt="2025-12-12T09:23:03.314" v="539" actId="20577"/>
          <ac:spMkLst>
            <pc:docMk/>
            <pc:sldMk cId="78212444" sldId="2147481528"/>
            <ac:spMk id="89" creationId="{92B33583-B78B-3838-A775-6DB271509FE7}"/>
          </ac:spMkLst>
        </pc:spChg>
        <pc:spChg chg="mod">
          <ac:chgData name="Faure, Didier" userId="791ba54c-1f49-4f2e-b537-01eab0413206" providerId="ADAL" clId="{FCA551CB-38FB-4C82-9570-91854B657E87}" dt="2025-12-11T15:44:50.440" v="464" actId="208"/>
          <ac:spMkLst>
            <pc:docMk/>
            <pc:sldMk cId="78212444" sldId="2147481528"/>
            <ac:spMk id="104" creationId="{A8E9D213-08D9-E160-393C-B6ECD02B0C57}"/>
          </ac:spMkLst>
        </pc:spChg>
        <pc:spChg chg="mod">
          <ac:chgData name="Faure, Didier" userId="791ba54c-1f49-4f2e-b537-01eab0413206" providerId="ADAL" clId="{FCA551CB-38FB-4C82-9570-91854B657E87}" dt="2025-12-11T15:43:42.711" v="461" actId="1037"/>
          <ac:spMkLst>
            <pc:docMk/>
            <pc:sldMk cId="78212444" sldId="2147481528"/>
            <ac:spMk id="105" creationId="{A5F24B8D-D73D-7670-AA77-078D814C49CD}"/>
          </ac:spMkLst>
        </pc:spChg>
        <pc:spChg chg="mod">
          <ac:chgData name="Faure, Didier" userId="791ba54c-1f49-4f2e-b537-01eab0413206" providerId="ADAL" clId="{FCA551CB-38FB-4C82-9570-91854B657E87}" dt="2025-12-11T15:28:21.576" v="252" actId="1076"/>
          <ac:spMkLst>
            <pc:docMk/>
            <pc:sldMk cId="78212444" sldId="2147481528"/>
            <ac:spMk id="107" creationId="{BF9AC984-E943-0C69-3FE9-40B010E39B48}"/>
          </ac:spMkLst>
        </pc:spChg>
        <pc:picChg chg="mod ord">
          <ac:chgData name="Faure, Didier" userId="791ba54c-1f49-4f2e-b537-01eab0413206" providerId="ADAL" clId="{FCA551CB-38FB-4C82-9570-91854B657E87}" dt="2025-12-12T09:33:43.612" v="811" actId="1076"/>
          <ac:picMkLst>
            <pc:docMk/>
            <pc:sldMk cId="78212444" sldId="2147481528"/>
            <ac:picMk id="9" creationId="{DDAD4C1A-DD43-86CA-F584-2BC373FF3D37}"/>
          </ac:picMkLst>
        </pc:picChg>
        <pc:picChg chg="mod ord">
          <ac:chgData name="Faure, Didier" userId="791ba54c-1f49-4f2e-b537-01eab0413206" providerId="ADAL" clId="{FCA551CB-38FB-4C82-9570-91854B657E87}" dt="2025-12-12T09:33:19.328" v="807" actId="1076"/>
          <ac:picMkLst>
            <pc:docMk/>
            <pc:sldMk cId="78212444" sldId="2147481528"/>
            <ac:picMk id="10" creationId="{84DD620F-E8F9-C3A8-6EBD-901A1C89D330}"/>
          </ac:picMkLst>
        </pc:picChg>
        <pc:picChg chg="mod ord">
          <ac:chgData name="Faure, Didier" userId="791ba54c-1f49-4f2e-b537-01eab0413206" providerId="ADAL" clId="{FCA551CB-38FB-4C82-9570-91854B657E87}" dt="2025-12-12T09:29:53.359" v="792" actId="166"/>
          <ac:picMkLst>
            <pc:docMk/>
            <pc:sldMk cId="78212444" sldId="2147481528"/>
            <ac:picMk id="11" creationId="{2002826C-CA6B-7E6F-A67D-890D35EF5FC7}"/>
          </ac:picMkLst>
        </pc:picChg>
        <pc:picChg chg="mod">
          <ac:chgData name="Faure, Didier" userId="791ba54c-1f49-4f2e-b537-01eab0413206" providerId="ADAL" clId="{FCA551CB-38FB-4C82-9570-91854B657E87}" dt="2025-12-11T15:43:42.711" v="461" actId="1037"/>
          <ac:picMkLst>
            <pc:docMk/>
            <pc:sldMk cId="78212444" sldId="2147481528"/>
            <ac:picMk id="12" creationId="{3815C72F-5E44-89A2-E7F0-C8B200B17BB8}"/>
          </ac:picMkLst>
        </pc:picChg>
        <pc:picChg chg="add mod">
          <ac:chgData name="Faure, Didier" userId="791ba54c-1f49-4f2e-b537-01eab0413206" providerId="ADAL" clId="{FCA551CB-38FB-4C82-9570-91854B657E87}" dt="2025-12-11T15:43:31.837" v="457" actId="1037"/>
          <ac:picMkLst>
            <pc:docMk/>
            <pc:sldMk cId="78212444" sldId="2147481528"/>
            <ac:picMk id="14" creationId="{7D820F59-F9F3-8FE1-8440-6657A56D2864}"/>
          </ac:picMkLst>
        </pc:picChg>
        <pc:picChg chg="mod">
          <ac:chgData name="Faure, Didier" userId="791ba54c-1f49-4f2e-b537-01eab0413206" providerId="ADAL" clId="{FCA551CB-38FB-4C82-9570-91854B657E87}" dt="2025-12-11T15:43:42.711" v="461" actId="1037"/>
          <ac:picMkLst>
            <pc:docMk/>
            <pc:sldMk cId="78212444" sldId="2147481528"/>
            <ac:picMk id="15" creationId="{85DBE63F-C758-CC66-234A-EE22AE9A6056}"/>
          </ac:picMkLst>
        </pc:picChg>
        <pc:picChg chg="mod ord">
          <ac:chgData name="Faure, Didier" userId="791ba54c-1f49-4f2e-b537-01eab0413206" providerId="ADAL" clId="{FCA551CB-38FB-4C82-9570-91854B657E87}" dt="2025-12-11T15:43:18.119" v="446" actId="1037"/>
          <ac:picMkLst>
            <pc:docMk/>
            <pc:sldMk cId="78212444" sldId="2147481528"/>
            <ac:picMk id="19" creationId="{D71CE748-20CB-DF9C-F204-2868388C0179}"/>
          </ac:picMkLst>
        </pc:picChg>
        <pc:picChg chg="mod ord">
          <ac:chgData name="Faure, Didier" userId="791ba54c-1f49-4f2e-b537-01eab0413206" providerId="ADAL" clId="{FCA551CB-38FB-4C82-9570-91854B657E87}" dt="2025-12-11T18:48:30.953" v="536" actId="167"/>
          <ac:picMkLst>
            <pc:docMk/>
            <pc:sldMk cId="78212444" sldId="2147481528"/>
            <ac:picMk id="20" creationId="{2D85B2D3-C077-1F06-5FE4-FEE3BAC257D4}"/>
          </ac:picMkLst>
        </pc:picChg>
        <pc:picChg chg="mod">
          <ac:chgData name="Faure, Didier" userId="791ba54c-1f49-4f2e-b537-01eab0413206" providerId="ADAL" clId="{FCA551CB-38FB-4C82-9570-91854B657E87}" dt="2025-12-11T15:48:01.464" v="482" actId="14100"/>
          <ac:picMkLst>
            <pc:docMk/>
            <pc:sldMk cId="78212444" sldId="2147481528"/>
            <ac:picMk id="21" creationId="{DF336ACB-E467-55EF-C35C-66C93BB35D0F}"/>
          </ac:picMkLst>
        </pc:picChg>
        <pc:cxnChg chg="add mod">
          <ac:chgData name="Faure, Didier" userId="791ba54c-1f49-4f2e-b537-01eab0413206" providerId="ADAL" clId="{FCA551CB-38FB-4C82-9570-91854B657E87}" dt="2025-12-11T18:48:39.165" v="537" actId="14100"/>
          <ac:cxnSpMkLst>
            <pc:docMk/>
            <pc:sldMk cId="78212444" sldId="2147481528"/>
            <ac:cxnSpMk id="18" creationId="{480436BC-0CE1-B539-A80B-F3FDCCBDA551}"/>
          </ac:cxnSpMkLst>
        </pc:cxnChg>
      </pc:sldChg>
      <pc:sldChg chg="del">
        <pc:chgData name="Faure, Didier" userId="791ba54c-1f49-4f2e-b537-01eab0413206" providerId="ADAL" clId="{FCA551CB-38FB-4C82-9570-91854B657E87}" dt="2025-12-12T10:59:25.667" v="814" actId="47"/>
        <pc:sldMkLst>
          <pc:docMk/>
          <pc:sldMk cId="4164471509" sldId="2147481529"/>
        </pc:sldMkLst>
      </pc:sldChg>
      <pc:sldChg chg="add del">
        <pc:chgData name="Faure, Didier" userId="791ba54c-1f49-4f2e-b537-01eab0413206" providerId="ADAL" clId="{FCA551CB-38FB-4C82-9570-91854B657E87}" dt="2025-12-12T10:59:25.667" v="814" actId="47"/>
        <pc:sldMkLst>
          <pc:docMk/>
          <pc:sldMk cId="3269281984" sldId="2147481530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5/12/2025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err="1"/>
              <a:t>Footer</a:t>
            </a: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5/12/2025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60400" y="842963"/>
            <a:ext cx="55372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F733B7-1873-49FD-B258-2C7BB301EFB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4382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6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2.xml"/><Relationship Id="rId7" Type="http://schemas.microsoft.com/office/2007/relationships/hdphoto" Target="../media/hdphoto3.wdp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9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2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8.png"/><Relationship Id="rId5" Type="http://schemas.microsoft.com/office/2007/relationships/hdphoto" Target="../media/hdphoto3.wdp"/><Relationship Id="rId4" Type="http://schemas.openxmlformats.org/officeDocument/2006/relationships/image" Target="../media/image17.png"/><Relationship Id="rId9" Type="http://schemas.openxmlformats.org/officeDocument/2006/relationships/image" Target="../media/image20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2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3.xml"/><Relationship Id="rId7" Type="http://schemas.microsoft.com/office/2007/relationships/hdphoto" Target="../media/hdphoto3.wdp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2.bin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8.png"/><Relationship Id="rId5" Type="http://schemas.microsoft.com/office/2007/relationships/hdphoto" Target="../media/hdphoto3.wdp"/><Relationship Id="rId10" Type="http://schemas.openxmlformats.org/officeDocument/2006/relationships/image" Target="../media/image12.svg"/><Relationship Id="rId4" Type="http://schemas.openxmlformats.org/officeDocument/2006/relationships/image" Target="../media/image17.png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2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8.png"/><Relationship Id="rId5" Type="http://schemas.microsoft.com/office/2007/relationships/hdphoto" Target="../media/hdphoto2.wdp"/><Relationship Id="rId10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FA2510D7-CC17-FE52-1049-CBA1E7AE4D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5951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84243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896600" cy="615553"/>
          </a:xfrm>
        </p:spPr>
        <p:txBody>
          <a:bodyPr/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Subtitle (optional)</a:t>
            </a:r>
            <a:br>
              <a:rPr lang="en-GB"/>
            </a:br>
            <a:r>
              <a:rPr lang="en-GB"/>
              <a:t>Presenter &lt;Name&gt;</a:t>
            </a:r>
            <a:br>
              <a:rPr lang="en-GB"/>
            </a:br>
            <a:r>
              <a:rPr lang="en-GB"/>
              <a:t>Location, Date/Month/Ye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0958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4BF53E07-51CC-1A4E-979B-1B04FA13D9D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4231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00048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06E0756-7972-6F73-2124-3B1EDC9742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05430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77"/>
            <a:ext cx="6338711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394222" y="1489077"/>
            <a:ext cx="4126795" cy="4495799"/>
          </a:xfrm>
        </p:spPr>
        <p:txBody>
          <a:bodyPr/>
          <a:lstStyle/>
          <a:p>
            <a:pPr lvl="0"/>
            <a:r>
              <a:rPr lang="en-GB" noProof="0"/>
              <a:t>Click in the icon to add an image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EBDA5F96-A3A5-A34E-A335-BB9C1E6495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/>
              <a:t>Subhead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07066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B5781D25-7206-B042-BBF6-5398834CC4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58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81"/>
            <a:ext cx="5183717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865717" y="3844930"/>
            <a:ext cx="5181600" cy="2139949"/>
          </a:xfrm>
        </p:spPr>
        <p:txBody>
          <a:bodyPr/>
          <a:lstStyle/>
          <a:p>
            <a:pPr lvl="0"/>
            <a:r>
              <a:rPr lang="en-GB" noProof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35188" y="1489075"/>
            <a:ext cx="5185833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6335188" y="3844930"/>
            <a:ext cx="5185833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/>
              <a:t>Click in the icon to add an image</a:t>
            </a:r>
          </a:p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67901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4506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magine 9">
            <a:extLst>
              <a:ext uri="{FF2B5EF4-FFF2-40B4-BE49-F238E27FC236}">
                <a16:creationId xmlns:a16="http://schemas.microsoft.com/office/drawing/2014/main" id="{001BCEA2-5E47-2DC8-6444-F41DACA365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F7C94DC8-FCBD-1750-1EF4-3EB5A10EB81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844" y="-1618"/>
            <a:ext cx="6685155" cy="6867981"/>
          </a:xfrm>
          <a:prstGeom prst="rect">
            <a:avLst/>
          </a:prstGeom>
        </p:spPr>
      </p:pic>
      <p:sp>
        <p:nvSpPr>
          <p:cNvPr id="14" name="Rectangle 2">
            <a:extLst>
              <a:ext uri="{FF2B5EF4-FFF2-40B4-BE49-F238E27FC236}">
                <a16:creationId xmlns:a16="http://schemas.microsoft.com/office/drawing/2014/main" id="{B4606B1D-9367-5D83-7BA1-3A214F707FF3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863602" y="2507780"/>
            <a:ext cx="10657417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/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0B3FF4E0-797F-3036-9F5D-4B329247ED7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863602" y="3856270"/>
            <a:ext cx="10657417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Figura a mano libera 15">
            <a:extLst>
              <a:ext uri="{FF2B5EF4-FFF2-40B4-BE49-F238E27FC236}">
                <a16:creationId xmlns:a16="http://schemas.microsoft.com/office/drawing/2014/main" id="{9ED2AC75-4AF3-B7BA-08A2-6B0FD27A3A3E}"/>
              </a:ext>
            </a:extLst>
          </p:cNvPr>
          <p:cNvSpPr/>
          <p:nvPr userDrawn="1"/>
        </p:nvSpPr>
        <p:spPr>
          <a:xfrm>
            <a:off x="6462942" y="0"/>
            <a:ext cx="3806928" cy="5218043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3E0C9B59-1685-27CC-6ED4-A9DEA95D694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0634" y="6483350"/>
            <a:ext cx="953714" cy="2592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881006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0399F161-3440-D07E-2547-C82CC7565C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8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9767EF98-B5CE-F584-BCA9-4C53CE9E26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0BC8C9E3-55BD-8333-FE46-4616BA64396B}"/>
              </a:ext>
            </a:extLst>
          </p:cNvPr>
          <p:cNvSpPr/>
          <p:nvPr userDrawn="1"/>
        </p:nvSpPr>
        <p:spPr>
          <a:xfrm>
            <a:off x="6462942" y="0"/>
            <a:ext cx="3806928" cy="5218043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8739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>
            <a:extLst>
              <a:ext uri="{FF2B5EF4-FFF2-40B4-BE49-F238E27FC236}">
                <a16:creationId xmlns:a16="http://schemas.microsoft.com/office/drawing/2014/main" id="{60B7D150-0C91-DFDC-E1F4-4E6A32E6450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786" y="5840341"/>
            <a:ext cx="2055875" cy="10176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715139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55203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9" imgH="399" progId="TCLayout.ActiveDocument.1">
                  <p:embed/>
                </p:oleObj>
              </mc:Choice>
              <mc:Fallback>
                <p:oleObj name="think-cell Folie" r:id="rId4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74420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Subtitle (optional)</a:t>
            </a:r>
            <a:br>
              <a:rPr lang="en-GB"/>
            </a:br>
            <a:r>
              <a:rPr lang="en-GB"/>
              <a:t>Presenter &lt;Name&gt;</a:t>
            </a:r>
            <a:br>
              <a:rPr lang="en-GB"/>
            </a:br>
            <a:r>
              <a:rPr lang="en-GB"/>
              <a:t>Location, Date/Month/Year</a:t>
            </a:r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876303" y="6551229"/>
            <a:ext cx="53239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0"/>
            <a:ext cx="914400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683154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863604" y="1485901"/>
            <a:ext cx="10657417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058495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23854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4BF53E07-51CC-1A4E-979B-1B04FA13D9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4231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4353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9" imgH="399" progId="TCLayout.ActiveDocument.1">
                  <p:embed/>
                </p:oleObj>
              </mc:Choice>
              <mc:Fallback>
                <p:oleObj name="think-cell Folie" r:id="rId4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 descr="RetroMKTGstatement16x9new.jp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38" y="0"/>
            <a:ext cx="12176562" cy="68707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7982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FA2510D7-CC17-FE52-1049-CBA1E7AE4D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65951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84243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896600" cy="615553"/>
          </a:xfrm>
        </p:spPr>
        <p:txBody>
          <a:bodyPr/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Subtitle (optional)</a:t>
            </a:r>
            <a:br>
              <a:rPr lang="en-GB"/>
            </a:br>
            <a:r>
              <a:rPr lang="en-GB"/>
              <a:t>Presenter &lt;Name&gt;</a:t>
            </a:r>
            <a:br>
              <a:rPr lang="en-GB"/>
            </a:br>
            <a:r>
              <a:rPr lang="en-GB"/>
              <a:t>Location, Date/Month/Ye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31540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4BF53E07-51CC-1A4E-979B-1B04FA13D9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185641" cy="6372000"/>
          </a:xfrm>
          <a:prstGeom prst="rect">
            <a:avLst/>
          </a:prstGeom>
        </p:spPr>
      </p:pic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4231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129300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_complete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4231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9" imgH="399" progId="TCLayout.ActiveDocument.1">
                  <p:embed/>
                </p:oleObj>
              </mc:Choice>
              <mc:Fallback>
                <p:oleObj name="think-cell Folie" r:id="rId4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C3298ECD-6C3D-D744-DCDC-3E462B1D5824}"/>
              </a:ext>
            </a:extLst>
          </p:cNvPr>
          <p:cNvSpPr/>
          <p:nvPr userDrawn="1"/>
        </p:nvSpPr>
        <p:spPr>
          <a:xfrm>
            <a:off x="609600" y="6372225"/>
            <a:ext cx="2971800" cy="38100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90007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06E0756-7972-6F73-2124-3B1EDC9742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6244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7F48235E-C0A5-9B60-C41E-3DB78AD36329}"/>
              </a:ext>
            </a:extLst>
          </p:cNvPr>
          <p:cNvSpPr/>
          <p:nvPr userDrawn="1"/>
        </p:nvSpPr>
        <p:spPr>
          <a:xfrm>
            <a:off x="0" y="5984875"/>
            <a:ext cx="12192000" cy="403173"/>
          </a:xfrm>
          <a:prstGeom prst="rect">
            <a:avLst/>
          </a:prstGeom>
          <a:gradFill flip="none" rotWithShape="1"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752651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77"/>
            <a:ext cx="6338711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394222" y="1489077"/>
            <a:ext cx="4126795" cy="4495799"/>
          </a:xfrm>
        </p:spPr>
        <p:txBody>
          <a:bodyPr/>
          <a:lstStyle/>
          <a:p>
            <a:pPr lvl="0"/>
            <a:r>
              <a:rPr lang="en-GB" noProof="0"/>
              <a:t>Click in the icon to add an image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EBDA5F96-A3A5-A34E-A335-BB9C1E6495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/>
              <a:t>Subhead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12444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2CD3F38A-7F98-AA44-B64F-90F203FAF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81"/>
            <a:ext cx="5183717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A924745B-0FCD-EC44-8F63-62B2A920A7D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65717" y="3844930"/>
            <a:ext cx="5181600" cy="2139949"/>
          </a:xfrm>
        </p:spPr>
        <p:txBody>
          <a:bodyPr/>
          <a:lstStyle/>
          <a:p>
            <a:pPr lvl="0"/>
            <a:r>
              <a:rPr lang="en-GB" noProof="0"/>
              <a:t>Click in the icon to add an imag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8CA1F3E-39BE-F94F-B5F6-4DE5F975BA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5188" y="1489075"/>
            <a:ext cx="5185833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1923CA74-2F1B-5C44-83FB-58C3020A0C6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35188" y="3844930"/>
            <a:ext cx="5185833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/>
              <a:t>Click in the icon to add an image</a:t>
            </a:r>
          </a:p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234000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4506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magine 9">
            <a:extLst>
              <a:ext uri="{FF2B5EF4-FFF2-40B4-BE49-F238E27FC236}">
                <a16:creationId xmlns:a16="http://schemas.microsoft.com/office/drawing/2014/main" id="{001BCEA2-5E47-2DC8-6444-F41DACA365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F7C94DC8-FCBD-1750-1EF4-3EB5A10EB81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14" name="Rectangle 2">
            <a:extLst>
              <a:ext uri="{FF2B5EF4-FFF2-40B4-BE49-F238E27FC236}">
                <a16:creationId xmlns:a16="http://schemas.microsoft.com/office/drawing/2014/main" id="{B4606B1D-9367-5D83-7BA1-3A214F707FF3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863602" y="2507780"/>
            <a:ext cx="10657417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/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0B3FF4E0-797F-3036-9F5D-4B329247ED7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863602" y="3856270"/>
            <a:ext cx="10657417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Figura a mano libera 15">
            <a:extLst>
              <a:ext uri="{FF2B5EF4-FFF2-40B4-BE49-F238E27FC236}">
                <a16:creationId xmlns:a16="http://schemas.microsoft.com/office/drawing/2014/main" id="{9ED2AC75-4AF3-B7BA-08A2-6B0FD27A3A3E}"/>
              </a:ext>
            </a:extLst>
          </p:cNvPr>
          <p:cNvSpPr/>
          <p:nvPr userDrawn="1"/>
        </p:nvSpPr>
        <p:spPr>
          <a:xfrm>
            <a:off x="6462942" y="0"/>
            <a:ext cx="3806928" cy="5216400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Elemento grafico 2">
            <a:extLst>
              <a:ext uri="{FF2B5EF4-FFF2-40B4-BE49-F238E27FC236}">
                <a16:creationId xmlns:a16="http://schemas.microsoft.com/office/drawing/2014/main" id="{011EBE87-D1BC-586C-2B04-D84C6D5D1C6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63137" y="6473815"/>
            <a:ext cx="968827" cy="2612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697431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0399F161-3440-D07E-2547-C82CC7565C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8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9767EF98-B5CE-F584-BCA9-4C53CE9E26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0BC8C9E3-55BD-8333-FE46-4616BA64396B}"/>
              </a:ext>
            </a:extLst>
          </p:cNvPr>
          <p:cNvSpPr/>
          <p:nvPr userDrawn="1"/>
        </p:nvSpPr>
        <p:spPr>
          <a:xfrm>
            <a:off x="6462942" y="0"/>
            <a:ext cx="3806928" cy="5218043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8739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Elemento grafico 3">
            <a:extLst>
              <a:ext uri="{FF2B5EF4-FFF2-40B4-BE49-F238E27FC236}">
                <a16:creationId xmlns:a16="http://schemas.microsoft.com/office/drawing/2014/main" id="{313665F9-F35E-7C8C-0981-6678A62921F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75522" y="5837943"/>
            <a:ext cx="2055875" cy="10155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277425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06E0756-7972-6F73-2124-3B1EDC9742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55444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9" imgH="399" progId="TCLayout.ActiveDocument.1">
                  <p:embed/>
                </p:oleObj>
              </mc:Choice>
              <mc:Fallback>
                <p:oleObj name="think-cell Folie" r:id="rId4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9049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9" imgH="399" progId="TCLayout.ActiveDocument.1">
                  <p:embed/>
                </p:oleObj>
              </mc:Choice>
              <mc:Fallback>
                <p:oleObj name="think-cell Folie" r:id="rId4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74420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Subtitle (optional)</a:t>
            </a:r>
            <a:br>
              <a:rPr lang="en-GB"/>
            </a:br>
            <a:r>
              <a:rPr lang="en-GB"/>
              <a:t>Presenter &lt;Name&gt;</a:t>
            </a:r>
            <a:br>
              <a:rPr lang="en-GB"/>
            </a:br>
            <a:r>
              <a:rPr lang="en-GB"/>
              <a:t>Location, Date/Month/Year</a:t>
            </a:r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876303" y="6551229"/>
            <a:ext cx="53239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0"/>
            <a:ext cx="914400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821471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863604" y="1485901"/>
            <a:ext cx="10657417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319122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513325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9" imgH="399" progId="TCLayout.ActiveDocument.1">
                  <p:embed/>
                </p:oleObj>
              </mc:Choice>
              <mc:Fallback>
                <p:oleObj name="think-cell Folie" r:id="rId4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 descr="RetroMKTGstatement16x9new.jp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38" y="0"/>
            <a:ext cx="12176562" cy="68707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96650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1D8060-5D9C-5C27-D604-1DBA7EC478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17B576C-4226-6989-CAFA-93D5D9D39B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50F23EA-ED23-5CD0-E54D-4DA26796A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25BB5-B64B-47AF-8327-FD176B1FFE01}" type="datetime1">
              <a:rPr lang="fr-FR" smtClean="0"/>
              <a:t>15/12/2025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4BEAF53-7F52-376D-4726-8C9A8C88AA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0EADD95-43DE-E783-487E-FE521710B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6CC48-9679-4724-9497-8C7D98F6F85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54031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7F48235E-C0A5-9B60-C41E-3DB78AD36329}"/>
              </a:ext>
            </a:extLst>
          </p:cNvPr>
          <p:cNvSpPr/>
          <p:nvPr userDrawn="1"/>
        </p:nvSpPr>
        <p:spPr>
          <a:xfrm>
            <a:off x="0" y="5984875"/>
            <a:ext cx="12192000" cy="403173"/>
          </a:xfrm>
          <a:prstGeom prst="rect">
            <a:avLst/>
          </a:prstGeom>
          <a:gradFill flip="none" rotWithShape="1"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3880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-33454"/>
            <a:ext cx="12207090" cy="640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77"/>
            <a:ext cx="6338711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394222" y="1489077"/>
            <a:ext cx="4126795" cy="4495799"/>
          </a:xfrm>
        </p:spPr>
        <p:txBody>
          <a:bodyPr/>
          <a:lstStyle/>
          <a:p>
            <a:pPr lvl="0"/>
            <a:r>
              <a:rPr lang="en-GB" noProof="0"/>
              <a:t>Click in the icon to add an image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EBDA5F96-A3A5-A34E-A335-BB9C1E6495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/>
              <a:t>Subhead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794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4506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magine 9">
            <a:extLst>
              <a:ext uri="{FF2B5EF4-FFF2-40B4-BE49-F238E27FC236}">
                <a16:creationId xmlns:a16="http://schemas.microsoft.com/office/drawing/2014/main" id="{001BCEA2-5E47-2DC8-6444-F41DACA365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F7C94DC8-FCBD-1750-1EF4-3EB5A10EB81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14" name="Rectangle 2">
            <a:extLst>
              <a:ext uri="{FF2B5EF4-FFF2-40B4-BE49-F238E27FC236}">
                <a16:creationId xmlns:a16="http://schemas.microsoft.com/office/drawing/2014/main" id="{B4606B1D-9367-5D83-7BA1-3A214F707FF3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863602" y="2507780"/>
            <a:ext cx="10657417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/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0B3FF4E0-797F-3036-9F5D-4B329247ED7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863602" y="3856270"/>
            <a:ext cx="10657417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Figura a mano libera 15">
            <a:extLst>
              <a:ext uri="{FF2B5EF4-FFF2-40B4-BE49-F238E27FC236}">
                <a16:creationId xmlns:a16="http://schemas.microsoft.com/office/drawing/2014/main" id="{9ED2AC75-4AF3-B7BA-08A2-6B0FD27A3A3E}"/>
              </a:ext>
            </a:extLst>
          </p:cNvPr>
          <p:cNvSpPr/>
          <p:nvPr userDrawn="1"/>
        </p:nvSpPr>
        <p:spPr>
          <a:xfrm>
            <a:off x="6462942" y="0"/>
            <a:ext cx="3806928" cy="5216400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err="1"/>
          </a:p>
        </p:txBody>
      </p:sp>
      <p:pic>
        <p:nvPicPr>
          <p:cNvPr id="3" name="Elemento grafico 2">
            <a:extLst>
              <a:ext uri="{FF2B5EF4-FFF2-40B4-BE49-F238E27FC236}">
                <a16:creationId xmlns:a16="http://schemas.microsoft.com/office/drawing/2014/main" id="{011EBE87-D1BC-586C-2B04-D84C6D5D1C6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63137" y="6473815"/>
            <a:ext cx="968827" cy="2612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2558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0399F161-3440-D07E-2547-C82CC7565C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9767EF98-B5CE-F584-BCA9-4C53CE9E26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0BC8C9E3-55BD-8333-FE46-4616BA64396B}"/>
              </a:ext>
            </a:extLst>
          </p:cNvPr>
          <p:cNvSpPr/>
          <p:nvPr userDrawn="1"/>
        </p:nvSpPr>
        <p:spPr>
          <a:xfrm>
            <a:off x="6462942" y="0"/>
            <a:ext cx="3806928" cy="5218043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err="1"/>
          </a:p>
        </p:txBody>
      </p:sp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8739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Elemento grafico 3">
            <a:extLst>
              <a:ext uri="{FF2B5EF4-FFF2-40B4-BE49-F238E27FC236}">
                <a16:creationId xmlns:a16="http://schemas.microsoft.com/office/drawing/2014/main" id="{313665F9-F35E-7C8C-0981-6678A62921F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75522" y="5837943"/>
            <a:ext cx="2055875" cy="10155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73247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1D8060-5D9C-5C27-D604-1DBA7EC478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17B576C-4226-6989-CAFA-93D5D9D39B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50F23EA-ED23-5CD0-E54D-4DA26796A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F110B-0450-4B6F-BB78-A250CA749BAC}" type="datetimeFigureOut">
              <a:rPr lang="fr-FR" smtClean="0"/>
              <a:t>15/12/2025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4BEAF53-7F52-376D-4726-8C9A8C88AA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0EADD95-43DE-E783-487E-FE521710B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6CC48-9679-4724-9497-8C7D98F6F85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87923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FA2510D7-CC17-FE52-1049-CBA1E7AE4D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65951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84243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896600" cy="615553"/>
          </a:xfrm>
        </p:spPr>
        <p:txBody>
          <a:bodyPr/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Subtitle (optional)</a:t>
            </a:r>
            <a:br>
              <a:rPr lang="en-GB"/>
            </a:br>
            <a:r>
              <a:rPr lang="en-GB"/>
              <a:t>Presenter &lt;Name&gt;</a:t>
            </a:r>
            <a:br>
              <a:rPr lang="en-GB"/>
            </a:br>
            <a:r>
              <a:rPr lang="en-GB"/>
              <a:t>Location, Date/Month/Year</a:t>
            </a:r>
          </a:p>
        </p:txBody>
      </p:sp>
      <p:pic>
        <p:nvPicPr>
          <p:cNvPr id="3" name="Immagine 4">
            <a:extLst>
              <a:ext uri="{FF2B5EF4-FFF2-40B4-BE49-F238E27FC236}">
                <a16:creationId xmlns:a16="http://schemas.microsoft.com/office/drawing/2014/main" id="{36F7F949-E6B4-B4B9-4D0B-5C434CB287A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2350" y="0"/>
            <a:ext cx="608965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5088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sv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2.xml"/><Relationship Id="rId18" Type="http://schemas.openxmlformats.org/officeDocument/2006/relationships/image" Target="../media/image13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tags" Target="../tags/tag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tags" Target="../tags/tag36.xml"/><Relationship Id="rId3" Type="http://schemas.openxmlformats.org/officeDocument/2006/relationships/slideLayout" Target="../slideLayouts/slideLayout2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tags" Target="../tags/tag35.xml"/><Relationship Id="rId2" Type="http://schemas.openxmlformats.org/officeDocument/2006/relationships/slideLayout" Target="../slideLayouts/slideLayout22.xml"/><Relationship Id="rId16" Type="http://schemas.openxmlformats.org/officeDocument/2006/relationships/theme" Target="../theme/theme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9692612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99" imgH="399" progId="TCLayout.ActiveDocument.1">
                  <p:embed/>
                </p:oleObj>
              </mc:Choice>
              <mc:Fallback>
                <p:oleObj name="think-cell Folie" r:id="rId12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63600" y="334805"/>
            <a:ext cx="10659533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it-IT" noProof="1"/>
              <a:t>Fare clic per modificare lo stile del titolo dello schema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63604" y="1485901"/>
            <a:ext cx="10656884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837928" y="6471709"/>
            <a:ext cx="116999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 December 2025</a:t>
            </a:fld>
            <a:endParaRPr lang="en-GB" sz="90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863604" y="6471709"/>
            <a:ext cx="47473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>
              <a:solidFill>
                <a:schemeClr val="bg2"/>
              </a:solidFill>
            </a:endParaRPr>
          </a:p>
        </p:txBody>
      </p:sp>
      <p:sp>
        <p:nvSpPr>
          <p:cNvPr id="4" name="MSIPCMContentMarking" descr="{&quot;HashCode&quot;:238546008,&quot;Placement&quot;:&quot;Footer&quot;,&quot;Top&quot;:524.1047,&quot;Left&quot;:458.909119,&quot;SlideWidth&quot;:960,&quot;SlideHeight&quot;:540}">
            <a:extLst>
              <a:ext uri="{FF2B5EF4-FFF2-40B4-BE49-F238E27FC236}">
                <a16:creationId xmlns:a16="http://schemas.microsoft.com/office/drawing/2014/main" id="{468815B7-2E8A-4978-BD78-431993C37F38}"/>
              </a:ext>
            </a:extLst>
          </p:cNvPr>
          <p:cNvSpPr txBox="1"/>
          <p:nvPr userDrawn="1"/>
        </p:nvSpPr>
        <p:spPr>
          <a:xfrm>
            <a:off x="5837111" y="6656129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7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</a:p>
        </p:txBody>
      </p:sp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610A67ED-DBBF-07F9-9DFA-425CFD8F6F6A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580748" y="6479778"/>
            <a:ext cx="938152" cy="252985"/>
          </a:xfrm>
          <a:prstGeom prst="rect">
            <a:avLst/>
          </a:prstGeom>
        </p:spPr>
      </p:pic>
    </p:spTree>
    <p:custDataLst>
      <p:tags r:id="rId10"/>
    </p:custDataLst>
    <p:extLst>
      <p:ext uri="{BB962C8B-B14F-4D97-AF65-F5344CB8AC3E}">
        <p14:creationId xmlns:p14="http://schemas.microsoft.com/office/powerpoint/2010/main" val="4281836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8" r:id="rId1"/>
    <p:sldLayoutId id="2147483700" r:id="rId2"/>
    <p:sldLayoutId id="2147483701" r:id="rId3"/>
    <p:sldLayoutId id="2147483705" r:id="rId4"/>
    <p:sldLayoutId id="2147483702" r:id="rId5"/>
    <p:sldLayoutId id="2147483703" r:id="rId6"/>
    <p:sldLayoutId id="2147483704" r:id="rId7"/>
    <p:sldLayoutId id="2147483724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3" pos="544" userDrawn="1">
          <p15:clr>
            <a:srgbClr val="F26B43"/>
          </p15:clr>
        </p15:guide>
        <p15:guide id="5" pos="7257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7423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7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9692612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399" imgH="399" progId="TCLayout.ActiveDocument.1">
                  <p:embed/>
                </p:oleObj>
              </mc:Choice>
              <mc:Fallback>
                <p:oleObj name="think-cell Folie" r:id="rId1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63600" y="334805"/>
            <a:ext cx="10659533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63604" y="1485901"/>
            <a:ext cx="10656884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837928" y="6471709"/>
            <a:ext cx="85600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Title, </a:t>
            </a:r>
            <a:fld id="{AF6A7A01-F0BB-4441-BAB9-3E7CB064C4A1}" type="datetime4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 December 2025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863604" y="6471709"/>
            <a:ext cx="379912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Page </a:t>
            </a:r>
            <a:fld id="{7873E190-40CF-412D-9604-1EFCEB1508B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</p:txBody>
      </p:sp>
      <p:pic>
        <p:nvPicPr>
          <p:cNvPr id="16" name="Immagine 15" descr="SidelLogoRGB.png"/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748" y="6483582"/>
            <a:ext cx="938152" cy="256947"/>
          </a:xfrm>
          <a:prstGeom prst="rect">
            <a:avLst/>
          </a:prstGeom>
        </p:spPr>
      </p:pic>
      <p:sp>
        <p:nvSpPr>
          <p:cNvPr id="7" name="Rettangolo 6">
            <a:extLst>
              <a:ext uri="{FF2B5EF4-FFF2-40B4-BE49-F238E27FC236}">
                <a16:creationId xmlns:a16="http://schemas.microsoft.com/office/drawing/2014/main" id="{C2F244A6-474B-4ED9-D0C2-CE64BB58C0D1}"/>
              </a:ext>
            </a:extLst>
          </p:cNvPr>
          <p:cNvSpPr/>
          <p:nvPr userDrawn="1"/>
        </p:nvSpPr>
        <p:spPr>
          <a:xfrm>
            <a:off x="0" y="5984875"/>
            <a:ext cx="12192000" cy="403173"/>
          </a:xfrm>
          <a:prstGeom prst="rect">
            <a:avLst/>
          </a:prstGeom>
          <a:gradFill flip="none" rotWithShape="1"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MSIPCMContentMarking" descr="{&quot;HashCode&quot;:238546008,&quot;Placement&quot;:&quot;Footer&quot;,&quot;Top&quot;:524.1047,&quot;Left&quot;:458.909119,&quot;SlideWidth&quot;:960,&quot;SlideHeight&quot;:540}">
            <a:extLst>
              <a:ext uri="{FF2B5EF4-FFF2-40B4-BE49-F238E27FC236}">
                <a16:creationId xmlns:a16="http://schemas.microsoft.com/office/drawing/2014/main" id="{468815B7-2E8A-4978-BD78-431993C37F38}"/>
              </a:ext>
            </a:extLst>
          </p:cNvPr>
          <p:cNvSpPr txBox="1"/>
          <p:nvPr userDrawn="1"/>
        </p:nvSpPr>
        <p:spPr>
          <a:xfrm>
            <a:off x="5828146" y="6656129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eneral</a:t>
            </a:r>
          </a:p>
        </p:txBody>
      </p:sp>
    </p:spTree>
    <p:custDataLst>
      <p:tags r:id="rId14"/>
    </p:custDataLst>
    <p:extLst>
      <p:ext uri="{BB962C8B-B14F-4D97-AF65-F5344CB8AC3E}">
        <p14:creationId xmlns:p14="http://schemas.microsoft.com/office/powerpoint/2010/main" val="5896560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6" r:id="rId9"/>
    <p:sldLayoutId id="2147483717" r:id="rId10"/>
    <p:sldLayoutId id="2147483718" r:id="rId11"/>
    <p:sldLayoutId id="2147483719" r:id="rId1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Arial Nova Cond" panose="020B0506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Arial Nova Cond" panose="020B0506020202020204" pitchFamily="34" charset="0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Arial Nova Cond" panose="020B0506020202020204" pitchFamily="34" charset="0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Arial Nova Cond" panose="020B0506020202020204" pitchFamily="34" charset="0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Arial Nova Cond" panose="020B0506020202020204" pitchFamily="34" charset="0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Arial Nova Cond" panose="020B0506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3" pos="544">
          <p15:clr>
            <a:srgbClr val="F26B43"/>
          </p15:clr>
        </p15:guide>
        <p15:guide id="5" pos="7257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7423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29692612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399" imgH="399" progId="TCLayout.ActiveDocument.1">
                  <p:embed/>
                </p:oleObj>
              </mc:Choice>
              <mc:Fallback>
                <p:oleObj name="think-cell Folie" r:id="rId19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63600" y="334805"/>
            <a:ext cx="10659533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it-IT" noProof="1"/>
              <a:t>Fare clic per modificare lo stile del titolo dello schema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63604" y="1485901"/>
            <a:ext cx="10656884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837928" y="6453945"/>
            <a:ext cx="116999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tle, </a:t>
            </a:r>
            <a:fld id="{AF6A7A01-F0BB-4441-BAB9-3E7CB064C4A1}" type="datetime4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 December 2025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863604" y="6471709"/>
            <a:ext cx="47473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ge </a:t>
            </a:r>
            <a:fld id="{7873E190-40CF-412D-9604-1EFCEB1508B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MSIPCMContentMarking" descr="{&quot;HashCode&quot;:238546008,&quot;Placement&quot;:&quot;Footer&quot;,&quot;Top&quot;:524.1047,&quot;Left&quot;:458.909119,&quot;SlideWidth&quot;:960,&quot;SlideHeight&quot;:540}">
            <a:extLst>
              <a:ext uri="{FF2B5EF4-FFF2-40B4-BE49-F238E27FC236}">
                <a16:creationId xmlns:a16="http://schemas.microsoft.com/office/drawing/2014/main" id="{468815B7-2E8A-4978-BD78-431993C37F38}"/>
              </a:ext>
            </a:extLst>
          </p:cNvPr>
          <p:cNvSpPr txBox="1"/>
          <p:nvPr userDrawn="1"/>
        </p:nvSpPr>
        <p:spPr>
          <a:xfrm>
            <a:off x="5837111" y="6656129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eneral</a:t>
            </a:r>
          </a:p>
        </p:txBody>
      </p:sp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610A67ED-DBBF-07F9-9DFA-425CFD8F6F6A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580748" y="6479778"/>
            <a:ext cx="938152" cy="252985"/>
          </a:xfrm>
          <a:prstGeom prst="rect">
            <a:avLst/>
          </a:prstGeom>
        </p:spPr>
      </p:pic>
    </p:spTree>
    <p:custDataLst>
      <p:tags r:id="rId17"/>
    </p:custDataLst>
    <p:extLst>
      <p:ext uri="{BB962C8B-B14F-4D97-AF65-F5344CB8AC3E}">
        <p14:creationId xmlns:p14="http://schemas.microsoft.com/office/powerpoint/2010/main" val="361447870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Arial Nova Cond" panose="020B0506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Arial Nova Cond" panose="020B0506020202020204" pitchFamily="34" charset="0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Arial Nova Cond" panose="020B0506020202020204" pitchFamily="34" charset="0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Arial Nova Cond" panose="020B0506020202020204" pitchFamily="34" charset="0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Arial Nova Cond" panose="020B0506020202020204" pitchFamily="34" charset="0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Arial Nova Cond" panose="020B0506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3" pos="544">
          <p15:clr>
            <a:srgbClr val="F26B43"/>
          </p15:clr>
        </p15:guide>
        <p15:guide id="5" pos="7257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7423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29.png"/><Relationship Id="rId3" Type="http://schemas.openxmlformats.org/officeDocument/2006/relationships/image" Target="../media/image23.png"/><Relationship Id="rId7" Type="http://schemas.microsoft.com/office/2007/relationships/hdphoto" Target="../media/hdphoto4.wdp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6.png"/><Relationship Id="rId11" Type="http://schemas.openxmlformats.org/officeDocument/2006/relationships/image" Target="../media/image10.svg"/><Relationship Id="rId5" Type="http://schemas.openxmlformats.org/officeDocument/2006/relationships/image" Target="../media/image25.png"/><Relationship Id="rId15" Type="http://schemas.openxmlformats.org/officeDocument/2006/relationships/image" Target="../media/image31.png"/><Relationship Id="rId10" Type="http://schemas.openxmlformats.org/officeDocument/2006/relationships/image" Target="../media/image9.png"/><Relationship Id="rId4" Type="http://schemas.openxmlformats.org/officeDocument/2006/relationships/image" Target="../media/image24.png"/><Relationship Id="rId9" Type="http://schemas.microsoft.com/office/2007/relationships/hdphoto" Target="../media/hdphoto5.wdp"/><Relationship Id="rId1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ttangolo 40">
            <a:extLst>
              <a:ext uri="{FF2B5EF4-FFF2-40B4-BE49-F238E27FC236}">
                <a16:creationId xmlns:a16="http://schemas.microsoft.com/office/drawing/2014/main" id="{CEB518CC-88F0-C974-99B5-11D72930C682}"/>
              </a:ext>
            </a:extLst>
          </p:cNvPr>
          <p:cNvSpPr/>
          <p:nvPr/>
        </p:nvSpPr>
        <p:spPr>
          <a:xfrm>
            <a:off x="7880757" y="1485779"/>
            <a:ext cx="4100861" cy="3009809"/>
          </a:xfrm>
          <a:prstGeom prst="rect">
            <a:avLst/>
          </a:prstGeom>
          <a:noFill/>
          <a:ln w="12700">
            <a:solidFill>
              <a:srgbClr val="C1C2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err="1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D85B2D3-C077-1F06-5FE4-FEE3BAC257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3617" y="2023914"/>
            <a:ext cx="2802458" cy="2513757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3815C72F-5E44-89A2-E7F0-C8B200B17B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2163" y="5072269"/>
            <a:ext cx="1990820" cy="1785731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D71CE748-20CB-DF9C-F204-2868388C01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69538" y="4694812"/>
            <a:ext cx="1501398" cy="500466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DF336ACB-E467-55EF-C35C-66C93BB35D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50160" y="4932860"/>
            <a:ext cx="1597510" cy="1621002"/>
          </a:xfrm>
          <a:prstGeom prst="rect">
            <a:avLst/>
          </a:prstGeom>
        </p:spPr>
      </p:pic>
      <p:sp>
        <p:nvSpPr>
          <p:cNvPr id="45" name="Segnaposto testo 38">
            <a:extLst>
              <a:ext uri="{FF2B5EF4-FFF2-40B4-BE49-F238E27FC236}">
                <a16:creationId xmlns:a16="http://schemas.microsoft.com/office/drawing/2014/main" id="{462D28B0-096D-D35E-8480-2F192B64945A}"/>
              </a:ext>
            </a:extLst>
          </p:cNvPr>
          <p:cNvSpPr txBox="1">
            <a:spLocks/>
          </p:cNvSpPr>
          <p:nvPr/>
        </p:nvSpPr>
        <p:spPr>
          <a:xfrm>
            <a:off x="2631787" y="1789250"/>
            <a:ext cx="5091141" cy="1639603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72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ecure your production in case of failur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BAUMER encoder for Matrix blower is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ow discontinued.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ticipate risk of long downtime in case of failure and Spare Parts unavailability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lower in combi configuration requires 2 encoders replacement,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ne on main drive shaft and second on outfeed wheel shaft.</a:t>
            </a:r>
          </a:p>
        </p:txBody>
      </p:sp>
      <p:grpSp>
        <p:nvGrpSpPr>
          <p:cNvPr id="46" name="Gruppo 63">
            <a:extLst>
              <a:ext uri="{FF2B5EF4-FFF2-40B4-BE49-F238E27FC236}">
                <a16:creationId xmlns:a16="http://schemas.microsoft.com/office/drawing/2014/main" id="{B782813F-3496-38D5-905D-BF224DB6F91E}"/>
              </a:ext>
            </a:extLst>
          </p:cNvPr>
          <p:cNvGrpSpPr/>
          <p:nvPr/>
        </p:nvGrpSpPr>
        <p:grpSpPr>
          <a:xfrm>
            <a:off x="2630973" y="1485779"/>
            <a:ext cx="5091141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47" name="Rettangolo 65">
              <a:extLst>
                <a:ext uri="{FF2B5EF4-FFF2-40B4-BE49-F238E27FC236}">
                  <a16:creationId xmlns:a16="http://schemas.microsoft.com/office/drawing/2014/main" id="{12810C6C-0112-8A49-891F-CF41C6042719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err="1"/>
            </a:p>
          </p:txBody>
        </p:sp>
        <p:sp>
          <p:nvSpPr>
            <p:cNvPr id="48" name="CasellaDiTesto 66">
              <a:extLst>
                <a:ext uri="{FF2B5EF4-FFF2-40B4-BE49-F238E27FC236}">
                  <a16:creationId xmlns:a16="http://schemas.microsoft.com/office/drawing/2014/main" id="{3EE1F40A-E823-952A-9BA1-159DD931E625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>
                  <a:solidFill>
                    <a:schemeClr val="bg1"/>
                  </a:solidFill>
                </a:rPr>
                <a:t>BENEFITS</a:t>
              </a:r>
            </a:p>
          </p:txBody>
        </p:sp>
      </p:grpSp>
      <p:sp>
        <p:nvSpPr>
          <p:cNvPr id="52" name="Segnaposto testo 38">
            <a:extLst>
              <a:ext uri="{FF2B5EF4-FFF2-40B4-BE49-F238E27FC236}">
                <a16:creationId xmlns:a16="http://schemas.microsoft.com/office/drawing/2014/main" id="{2D983DB6-86B6-2BF3-FCC8-46E7B8EBA5A3}"/>
              </a:ext>
            </a:extLst>
          </p:cNvPr>
          <p:cNvSpPr txBox="1">
            <a:spLocks/>
          </p:cNvSpPr>
          <p:nvPr/>
        </p:nvSpPr>
        <p:spPr>
          <a:xfrm>
            <a:off x="2673487" y="3875331"/>
            <a:ext cx="5048628" cy="1093932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180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buClr>
                <a:srgbClr val="E74B00"/>
              </a:buClr>
              <a:buNone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placement solution </a:t>
            </a:r>
            <a:endParaRPr lang="en-US" altLang="it-IT" b="1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270338" lvl="2" indent="-285750">
              <a:buClr>
                <a:srgbClr val="E74B00"/>
              </a:buClr>
            </a:pPr>
            <a:r>
              <a:rPr lang="en-US" altLang="it-IT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New ABSOLUTE CODER D06 L10 IP65 </a:t>
            </a:r>
            <a:r>
              <a:rPr lang="en-US" altLang="it-IT" sz="1600" b="1" i="1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– TR Electronics</a:t>
            </a:r>
            <a:endParaRPr lang="en-US" altLang="it-IT" sz="1600" b="1" i="1" kern="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270338" lvl="2" indent="-285750">
              <a:buClr>
                <a:srgbClr val="E74B00"/>
              </a:buClr>
            </a:pPr>
            <a:r>
              <a:rPr lang="en-US" altLang="it-IT" kern="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No Spare Parts 1 to 1  , </a:t>
            </a:r>
            <a:r>
              <a:rPr lang="en-US" altLang="it-IT" b="1" kern="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requires O&amp;U with BOM update</a:t>
            </a:r>
          </a:p>
          <a:p>
            <a:pPr marL="0" lvl="1" indent="0" eaLnBrk="1" hangingPunct="1">
              <a:lnSpc>
                <a:spcPct val="80000"/>
              </a:lnSpc>
              <a:spcBef>
                <a:spcPts val="600"/>
              </a:spcBef>
              <a:buNone/>
              <a:defRPr/>
            </a:pPr>
            <a:endParaRPr lang="en-US" dirty="0">
              <a:sym typeface="Wingdings" panose="05000000000000000000" pitchFamily="2" charset="2"/>
            </a:endParaRPr>
          </a:p>
        </p:txBody>
      </p:sp>
      <p:grpSp>
        <p:nvGrpSpPr>
          <p:cNvPr id="53" name="Gruppo 55">
            <a:extLst>
              <a:ext uri="{FF2B5EF4-FFF2-40B4-BE49-F238E27FC236}">
                <a16:creationId xmlns:a16="http://schemas.microsoft.com/office/drawing/2014/main" id="{AC61FE2B-F443-A0EE-09FE-18283CF93C4A}"/>
              </a:ext>
            </a:extLst>
          </p:cNvPr>
          <p:cNvGrpSpPr/>
          <p:nvPr/>
        </p:nvGrpSpPr>
        <p:grpSpPr>
          <a:xfrm>
            <a:off x="2672673" y="3571859"/>
            <a:ext cx="5049441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54" name="Rettangolo 56">
              <a:extLst>
                <a:ext uri="{FF2B5EF4-FFF2-40B4-BE49-F238E27FC236}">
                  <a16:creationId xmlns:a16="http://schemas.microsoft.com/office/drawing/2014/main" id="{D88D3AC9-2E60-C411-DBE1-E42194A6EE2F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err="1"/>
            </a:p>
          </p:txBody>
        </p:sp>
        <p:sp>
          <p:nvSpPr>
            <p:cNvPr id="55" name="CasellaDiTesto 57">
              <a:extLst>
                <a:ext uri="{FF2B5EF4-FFF2-40B4-BE49-F238E27FC236}">
                  <a16:creationId xmlns:a16="http://schemas.microsoft.com/office/drawing/2014/main" id="{E5DD7732-363C-F4DA-A84D-B3E8AF3EFD06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>
                  <a:solidFill>
                    <a:schemeClr val="bg1"/>
                  </a:solidFill>
                </a:rPr>
                <a:t>DESCRIPTION</a:t>
              </a:r>
            </a:p>
          </p:txBody>
        </p:sp>
      </p:grpSp>
      <p:sp>
        <p:nvSpPr>
          <p:cNvPr id="61" name="Titel 1">
            <a:extLst>
              <a:ext uri="{FF2B5EF4-FFF2-40B4-BE49-F238E27FC236}">
                <a16:creationId xmlns:a16="http://schemas.microsoft.com/office/drawing/2014/main" id="{3E8F08BB-7384-E4FB-4CF7-BFAD3ED739A3}"/>
              </a:ext>
            </a:extLst>
          </p:cNvPr>
          <p:cNvSpPr txBox="1">
            <a:spLocks/>
          </p:cNvSpPr>
          <p:nvPr/>
        </p:nvSpPr>
        <p:spPr>
          <a:xfrm>
            <a:off x="2624443" y="334805"/>
            <a:ext cx="6793158" cy="4616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fr-FR" altLang="fr-FR" sz="2600" b="1">
                <a:solidFill>
                  <a:srgbClr val="E74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cure </a:t>
            </a:r>
            <a:r>
              <a:rPr lang="fr-FR" altLang="fr-FR" sz="2600" b="1" err="1">
                <a:solidFill>
                  <a:srgbClr val="E74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r</a:t>
            </a:r>
            <a:r>
              <a:rPr lang="fr-FR" altLang="fr-FR" sz="2600" b="1">
                <a:solidFill>
                  <a:srgbClr val="E74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atrix Blower uptime</a:t>
            </a:r>
            <a:endParaRPr lang="en-GB" sz="2600" b="1">
              <a:solidFill>
                <a:srgbClr val="E74B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C8150B97-541C-BC17-A789-56F8312ED4DB}"/>
              </a:ext>
            </a:extLst>
          </p:cNvPr>
          <p:cNvSpPr txBox="1">
            <a:spLocks/>
          </p:cNvSpPr>
          <p:nvPr/>
        </p:nvSpPr>
        <p:spPr>
          <a:xfrm>
            <a:off x="2624440" y="864162"/>
            <a:ext cx="8310260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23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O&amp;U ref OCB004</a:t>
            </a:r>
            <a:r>
              <a:rPr lang="en-US" sz="2000" dirty="0">
                <a:solidFill>
                  <a:schemeClr val="tx1"/>
                </a:solidFill>
              </a:rPr>
              <a:t> - </a:t>
            </a:r>
            <a:r>
              <a:rPr lang="en-US" sz="2000" dirty="0">
                <a:solidFill>
                  <a:srgbClr val="E74B00"/>
                </a:solidFill>
              </a:rPr>
              <a:t>BAUMER Encoder obsolescence for Matrix</a:t>
            </a:r>
            <a:endParaRPr lang="it-IT" sz="2000" dirty="0">
              <a:solidFill>
                <a:srgbClr val="E74B00"/>
              </a:solidFill>
            </a:endParaRPr>
          </a:p>
        </p:txBody>
      </p:sp>
      <p:grpSp>
        <p:nvGrpSpPr>
          <p:cNvPr id="40" name="Gruppo 41">
            <a:extLst>
              <a:ext uri="{FF2B5EF4-FFF2-40B4-BE49-F238E27FC236}">
                <a16:creationId xmlns:a16="http://schemas.microsoft.com/office/drawing/2014/main" id="{2CF94971-5FC9-45CA-4814-B79D4C5BC1B5}"/>
              </a:ext>
            </a:extLst>
          </p:cNvPr>
          <p:cNvGrpSpPr/>
          <p:nvPr/>
        </p:nvGrpSpPr>
        <p:grpSpPr>
          <a:xfrm>
            <a:off x="0" y="0"/>
            <a:ext cx="2352565" cy="6858000"/>
            <a:chOff x="-3505" y="0"/>
            <a:chExt cx="2352565" cy="5921128"/>
          </a:xfrm>
        </p:grpSpPr>
        <p:pic>
          <p:nvPicPr>
            <p:cNvPr id="41" name="Immagine 50">
              <a:extLst>
                <a:ext uri="{FF2B5EF4-FFF2-40B4-BE49-F238E27FC236}">
                  <a16:creationId xmlns:a16="http://schemas.microsoft.com/office/drawing/2014/main" id="{742E7311-7CC3-A9DA-0083-7FA0784DCAC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633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440" y="0"/>
              <a:ext cx="2349500" cy="5921128"/>
            </a:xfrm>
            <a:prstGeom prst="rect">
              <a:avLst/>
            </a:prstGeom>
          </p:spPr>
        </p:pic>
        <p:pic>
          <p:nvPicPr>
            <p:cNvPr id="42" name="Immagine 51">
              <a:extLst>
                <a:ext uri="{FF2B5EF4-FFF2-40B4-BE49-F238E27FC236}">
                  <a16:creationId xmlns:a16="http://schemas.microsoft.com/office/drawing/2014/main" id="{3BCF0FC5-11B2-0B3E-EA0D-B9C42430173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hq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3505" y="1"/>
              <a:ext cx="2349500" cy="4041615"/>
            </a:xfrm>
            <a:prstGeom prst="rect">
              <a:avLst/>
            </a:prstGeom>
          </p:spPr>
        </p:pic>
      </p:grpSp>
      <p:sp>
        <p:nvSpPr>
          <p:cNvPr id="43" name="Segnaposto testo 13">
            <a:extLst>
              <a:ext uri="{FF2B5EF4-FFF2-40B4-BE49-F238E27FC236}">
                <a16:creationId xmlns:a16="http://schemas.microsoft.com/office/drawing/2014/main" id="{1F7E0432-1F21-8AC7-7570-37C7A60BDDC9}"/>
              </a:ext>
            </a:extLst>
          </p:cNvPr>
          <p:cNvSpPr txBox="1">
            <a:spLocks/>
          </p:cNvSpPr>
          <p:nvPr/>
        </p:nvSpPr>
        <p:spPr>
          <a:xfrm>
            <a:off x="210382" y="1510276"/>
            <a:ext cx="1963125" cy="371227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 5 k€</a:t>
            </a:r>
          </a:p>
          <a:p>
            <a:endParaRPr lang="it-IT"/>
          </a:p>
          <a:p>
            <a:endParaRPr lang="it-IT"/>
          </a:p>
        </p:txBody>
      </p:sp>
      <p:sp>
        <p:nvSpPr>
          <p:cNvPr id="44" name="TextBox 9">
            <a:extLst>
              <a:ext uri="{FF2B5EF4-FFF2-40B4-BE49-F238E27FC236}">
                <a16:creationId xmlns:a16="http://schemas.microsoft.com/office/drawing/2014/main" id="{16E06F8D-06AE-D0BD-E586-7D555981C48C}"/>
              </a:ext>
            </a:extLst>
          </p:cNvPr>
          <p:cNvSpPr txBox="1"/>
          <p:nvPr/>
        </p:nvSpPr>
        <p:spPr>
          <a:xfrm>
            <a:off x="199050" y="1282706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>
                <a:solidFill>
                  <a:schemeClr val="bg1"/>
                </a:solidFill>
                <a:cs typeface="Arial"/>
              </a:rPr>
              <a:t>Budget price :</a:t>
            </a:r>
            <a:endParaRPr lang="en-GB" sz="1400" b="1">
              <a:solidFill>
                <a:schemeClr val="bg1"/>
              </a:solidFill>
              <a:cs typeface="Arial"/>
            </a:endParaRPr>
          </a:p>
        </p:txBody>
      </p:sp>
      <p:sp>
        <p:nvSpPr>
          <p:cNvPr id="56" name="Segnaposto testo 13">
            <a:extLst>
              <a:ext uri="{FF2B5EF4-FFF2-40B4-BE49-F238E27FC236}">
                <a16:creationId xmlns:a16="http://schemas.microsoft.com/office/drawing/2014/main" id="{8AD76F4F-D33E-15E6-143B-FBAB4318BBD3}"/>
              </a:ext>
            </a:extLst>
          </p:cNvPr>
          <p:cNvSpPr txBox="1">
            <a:spLocks/>
          </p:cNvSpPr>
          <p:nvPr/>
        </p:nvSpPr>
        <p:spPr>
          <a:xfrm>
            <a:off x="199050" y="2091866"/>
            <a:ext cx="1963125" cy="380095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/>
          </a:p>
        </p:txBody>
      </p:sp>
      <p:sp>
        <p:nvSpPr>
          <p:cNvPr id="58" name="Segnaposto testo 13">
            <a:extLst>
              <a:ext uri="{FF2B5EF4-FFF2-40B4-BE49-F238E27FC236}">
                <a16:creationId xmlns:a16="http://schemas.microsoft.com/office/drawing/2014/main" id="{F00B6BB3-A3E3-CA84-7476-821AFB2B3491}"/>
              </a:ext>
            </a:extLst>
          </p:cNvPr>
          <p:cNvSpPr txBox="1">
            <a:spLocks/>
          </p:cNvSpPr>
          <p:nvPr/>
        </p:nvSpPr>
        <p:spPr>
          <a:xfrm>
            <a:off x="207910" y="2219826"/>
            <a:ext cx="1963125" cy="360123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2 days / 2 md*</a:t>
            </a:r>
          </a:p>
        </p:txBody>
      </p:sp>
      <p:sp>
        <p:nvSpPr>
          <p:cNvPr id="59" name="TextBox 9">
            <a:extLst>
              <a:ext uri="{FF2B5EF4-FFF2-40B4-BE49-F238E27FC236}">
                <a16:creationId xmlns:a16="http://schemas.microsoft.com/office/drawing/2014/main" id="{E3910491-7723-94C0-C7FE-8B2C1EE14CC9}"/>
              </a:ext>
            </a:extLst>
          </p:cNvPr>
          <p:cNvSpPr txBox="1"/>
          <p:nvPr/>
        </p:nvSpPr>
        <p:spPr>
          <a:xfrm>
            <a:off x="207910" y="1973480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>
                <a:solidFill>
                  <a:schemeClr val="bg1"/>
                </a:solidFill>
                <a:cs typeface="Arial"/>
              </a:rPr>
              <a:t>Installation time :</a:t>
            </a:r>
            <a:endParaRPr lang="en-GB" sz="1400" b="1">
              <a:solidFill>
                <a:schemeClr val="bg1"/>
              </a:solidFill>
              <a:cs typeface="Arial"/>
            </a:endParaRPr>
          </a:p>
        </p:txBody>
      </p:sp>
      <p:sp>
        <p:nvSpPr>
          <p:cNvPr id="60" name="Segnaposto testo 13">
            <a:extLst>
              <a:ext uri="{FF2B5EF4-FFF2-40B4-BE49-F238E27FC236}">
                <a16:creationId xmlns:a16="http://schemas.microsoft.com/office/drawing/2014/main" id="{25E502BD-5210-E88A-3E4F-EC45F2B1D2B3}"/>
              </a:ext>
            </a:extLst>
          </p:cNvPr>
          <p:cNvSpPr txBox="1">
            <a:spLocks/>
          </p:cNvSpPr>
          <p:nvPr/>
        </p:nvSpPr>
        <p:spPr>
          <a:xfrm>
            <a:off x="199050" y="2993154"/>
            <a:ext cx="1963125" cy="393248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1 day*</a:t>
            </a:r>
          </a:p>
        </p:txBody>
      </p:sp>
      <p:sp>
        <p:nvSpPr>
          <p:cNvPr id="65" name="TextBox 9">
            <a:extLst>
              <a:ext uri="{FF2B5EF4-FFF2-40B4-BE49-F238E27FC236}">
                <a16:creationId xmlns:a16="http://schemas.microsoft.com/office/drawing/2014/main" id="{C1EB025B-F6E8-9DFD-B2AE-9A63DA806842}"/>
              </a:ext>
            </a:extLst>
          </p:cNvPr>
          <p:cNvSpPr txBox="1"/>
          <p:nvPr/>
        </p:nvSpPr>
        <p:spPr>
          <a:xfrm>
            <a:off x="199050" y="2746812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>
                <a:solidFill>
                  <a:schemeClr val="bg1"/>
                </a:solidFill>
                <a:cs typeface="Arial"/>
              </a:rPr>
              <a:t>Machine downtime : </a:t>
            </a:r>
          </a:p>
        </p:txBody>
      </p:sp>
      <p:sp>
        <p:nvSpPr>
          <p:cNvPr id="66" name="Segnaposto testo 13">
            <a:extLst>
              <a:ext uri="{FF2B5EF4-FFF2-40B4-BE49-F238E27FC236}">
                <a16:creationId xmlns:a16="http://schemas.microsoft.com/office/drawing/2014/main" id="{0E2F9176-20BD-CF0E-D425-CC844341E8F1}"/>
              </a:ext>
            </a:extLst>
          </p:cNvPr>
          <p:cNvSpPr txBox="1">
            <a:spLocks/>
          </p:cNvSpPr>
          <p:nvPr/>
        </p:nvSpPr>
        <p:spPr>
          <a:xfrm>
            <a:off x="89011" y="4239280"/>
            <a:ext cx="2212421" cy="360000"/>
          </a:xfrm>
          <a:prstGeom prst="rect">
            <a:avLst/>
          </a:prstGeom>
        </p:spPr>
        <p:txBody>
          <a:bodyPr wrap="square" lIns="91440" tIns="45720" rIns="91440" bIns="4572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* </a:t>
            </a:r>
            <a:r>
              <a:rPr lang="it-IT" sz="700">
                <a:solidFill>
                  <a:srgbClr val="FFFFFF"/>
                </a:solidFill>
              </a:rPr>
              <a:t>These data are not definitive, depending on your machine configuration.</a:t>
            </a:r>
            <a:endParaRPr lang="fr-FR" sz="700">
              <a:ea typeface="Calibri"/>
              <a:cs typeface="Calibri"/>
            </a:endParaRPr>
          </a:p>
        </p:txBody>
      </p:sp>
      <p:sp>
        <p:nvSpPr>
          <p:cNvPr id="71" name="Segnaposto testo 13">
            <a:extLst>
              <a:ext uri="{FF2B5EF4-FFF2-40B4-BE49-F238E27FC236}">
                <a16:creationId xmlns:a16="http://schemas.microsoft.com/office/drawing/2014/main" id="{E5A51C88-46E7-2DD5-2451-679ADCAD5F63}"/>
              </a:ext>
            </a:extLst>
          </p:cNvPr>
          <p:cNvSpPr txBox="1">
            <a:spLocks/>
          </p:cNvSpPr>
          <p:nvPr/>
        </p:nvSpPr>
        <p:spPr>
          <a:xfrm>
            <a:off x="178112" y="6309688"/>
            <a:ext cx="1963125" cy="397412"/>
          </a:xfrm>
          <a:prstGeom prst="rect">
            <a:avLst/>
          </a:prstGeom>
        </p:spPr>
        <p:txBody>
          <a:bodyPr wrap="square" lIns="91440" tIns="45720" rIns="91440" bIns="45720" anchor="t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9060" indent="-99060">
              <a:buClr>
                <a:srgbClr val="E74B00"/>
              </a:buClr>
            </a:pPr>
            <a:r>
              <a:rPr lang="it-IT" sz="1200" dirty="0"/>
              <a:t> Matrix Blower</a:t>
            </a:r>
            <a:br>
              <a:rPr lang="it-IT" sz="1200" b="1" dirty="0"/>
            </a:br>
            <a:endParaRPr lang="it-IT" sz="1200" dirty="0">
              <a:ea typeface="Calibri"/>
              <a:cs typeface="Calibri"/>
            </a:endParaRPr>
          </a:p>
        </p:txBody>
      </p:sp>
      <p:sp>
        <p:nvSpPr>
          <p:cNvPr id="78" name="TextBox 9">
            <a:extLst>
              <a:ext uri="{FF2B5EF4-FFF2-40B4-BE49-F238E27FC236}">
                <a16:creationId xmlns:a16="http://schemas.microsoft.com/office/drawing/2014/main" id="{8059F00A-56ED-C575-A0A3-37EF763142D7}"/>
              </a:ext>
            </a:extLst>
          </p:cNvPr>
          <p:cNvSpPr txBox="1"/>
          <p:nvPr/>
        </p:nvSpPr>
        <p:spPr>
          <a:xfrm>
            <a:off x="199050" y="934388"/>
            <a:ext cx="1563513" cy="177772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l"/>
            <a:r>
              <a:rPr lang="en-US" sz="1400" b="1">
                <a:solidFill>
                  <a:schemeClr val="bg1"/>
                </a:solidFill>
                <a:cs typeface="Arial"/>
              </a:rPr>
              <a:t>KEY FIGURES</a:t>
            </a:r>
            <a:endParaRPr lang="en-GB" sz="1400" b="1">
              <a:solidFill>
                <a:schemeClr val="bg1"/>
              </a:solidFill>
              <a:cs typeface="Arial"/>
            </a:endParaRPr>
          </a:p>
        </p:txBody>
      </p:sp>
      <p:pic>
        <p:nvPicPr>
          <p:cNvPr id="79" name="Elemento grafico 64">
            <a:extLst>
              <a:ext uri="{FF2B5EF4-FFF2-40B4-BE49-F238E27FC236}">
                <a16:creationId xmlns:a16="http://schemas.microsoft.com/office/drawing/2014/main" id="{F5005602-51B9-278E-DE12-2D092C9BF346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99050" y="346381"/>
            <a:ext cx="1334999" cy="360000"/>
          </a:xfrm>
          <a:prstGeom prst="rect">
            <a:avLst/>
          </a:prstGeom>
        </p:spPr>
      </p:pic>
      <p:sp>
        <p:nvSpPr>
          <p:cNvPr id="86" name="Rettangolo 44">
            <a:extLst>
              <a:ext uri="{FF2B5EF4-FFF2-40B4-BE49-F238E27FC236}">
                <a16:creationId xmlns:a16="http://schemas.microsoft.com/office/drawing/2014/main" id="{F58707DE-8A0D-A1EA-F8EA-3BA68A878798}"/>
              </a:ext>
            </a:extLst>
          </p:cNvPr>
          <p:cNvSpPr/>
          <p:nvPr/>
        </p:nvSpPr>
        <p:spPr>
          <a:xfrm>
            <a:off x="-440" y="4645100"/>
            <a:ext cx="2349500" cy="360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err="1"/>
          </a:p>
        </p:txBody>
      </p:sp>
      <p:sp>
        <p:nvSpPr>
          <p:cNvPr id="87" name="Segnaposto testo 13">
            <a:extLst>
              <a:ext uri="{FF2B5EF4-FFF2-40B4-BE49-F238E27FC236}">
                <a16:creationId xmlns:a16="http://schemas.microsoft.com/office/drawing/2014/main" id="{F110D102-BD5E-9619-CCFF-2290AD9A75EF}"/>
              </a:ext>
            </a:extLst>
          </p:cNvPr>
          <p:cNvSpPr txBox="1">
            <a:spLocks/>
          </p:cNvSpPr>
          <p:nvPr/>
        </p:nvSpPr>
        <p:spPr>
          <a:xfrm>
            <a:off x="199050" y="3767863"/>
            <a:ext cx="1963125" cy="393248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10 weeks</a:t>
            </a:r>
          </a:p>
        </p:txBody>
      </p:sp>
      <p:sp>
        <p:nvSpPr>
          <p:cNvPr id="88" name="TextBox 9">
            <a:extLst>
              <a:ext uri="{FF2B5EF4-FFF2-40B4-BE49-F238E27FC236}">
                <a16:creationId xmlns:a16="http://schemas.microsoft.com/office/drawing/2014/main" id="{0AC04F7A-116D-9718-E0D5-CF1F089A2952}"/>
              </a:ext>
            </a:extLst>
          </p:cNvPr>
          <p:cNvSpPr txBox="1"/>
          <p:nvPr/>
        </p:nvSpPr>
        <p:spPr>
          <a:xfrm>
            <a:off x="199050" y="3521521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r>
              <a:rPr lang="en-US" sz="1400" b="1">
                <a:solidFill>
                  <a:schemeClr val="bg1"/>
                </a:solidFill>
                <a:cs typeface="Arial"/>
              </a:rPr>
              <a:t>Lead time to deliver : </a:t>
            </a:r>
          </a:p>
        </p:txBody>
      </p:sp>
      <p:sp>
        <p:nvSpPr>
          <p:cNvPr id="89" name="Segnaposto testo 13">
            <a:extLst>
              <a:ext uri="{FF2B5EF4-FFF2-40B4-BE49-F238E27FC236}">
                <a16:creationId xmlns:a16="http://schemas.microsoft.com/office/drawing/2014/main" id="{92B33583-B78B-3838-A775-6DB271509FE7}"/>
              </a:ext>
            </a:extLst>
          </p:cNvPr>
          <p:cNvSpPr txBox="1">
            <a:spLocks/>
          </p:cNvSpPr>
          <p:nvPr/>
        </p:nvSpPr>
        <p:spPr>
          <a:xfrm>
            <a:off x="178112" y="5034739"/>
            <a:ext cx="2114351" cy="997174"/>
          </a:xfrm>
          <a:prstGeom prst="rect">
            <a:avLst/>
          </a:prstGeom>
        </p:spPr>
        <p:txBody>
          <a:bodyPr wrap="square" lIns="91440" tIns="45720" rIns="91440" bIns="45720" anchor="t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9060" indent="-99060">
              <a:buClr>
                <a:srgbClr val="E74B00"/>
              </a:buClr>
            </a:pPr>
            <a:r>
              <a:rPr lang="it-IT" sz="1200" dirty="0"/>
              <a:t>HMI migration to W10</a:t>
            </a:r>
            <a:br>
              <a:rPr lang="it-IT" sz="1200" dirty="0"/>
            </a:br>
            <a:r>
              <a:rPr lang="it-IT" sz="1200" dirty="0"/>
              <a:t> #2096</a:t>
            </a:r>
          </a:p>
          <a:p>
            <a:pPr marL="99060" indent="-99060">
              <a:buClr>
                <a:srgbClr val="E74B00"/>
              </a:buClr>
            </a:pPr>
            <a:r>
              <a:rPr lang="it-IT" sz="1200" dirty="0"/>
              <a:t>Contactless Electrical</a:t>
            </a:r>
            <a:br>
              <a:rPr lang="it-IT" sz="1200" dirty="0"/>
            </a:br>
            <a:r>
              <a:rPr lang="it-IT" sz="1200" dirty="0"/>
              <a:t> Slip Ring #2099 </a:t>
            </a:r>
          </a:p>
        </p:txBody>
      </p:sp>
      <p:sp>
        <p:nvSpPr>
          <p:cNvPr id="104" name="Flèche : droite 103">
            <a:extLst>
              <a:ext uri="{FF2B5EF4-FFF2-40B4-BE49-F238E27FC236}">
                <a16:creationId xmlns:a16="http://schemas.microsoft.com/office/drawing/2014/main" id="{A8E9D213-08D9-E160-393C-B6ECD02B0C57}"/>
              </a:ext>
            </a:extLst>
          </p:cNvPr>
          <p:cNvSpPr/>
          <p:nvPr/>
        </p:nvSpPr>
        <p:spPr>
          <a:xfrm rot="10800000">
            <a:off x="6672507" y="5599775"/>
            <a:ext cx="577553" cy="404791"/>
          </a:xfrm>
          <a:prstGeom prst="rightArrow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err="1"/>
          </a:p>
        </p:txBody>
      </p:sp>
      <p:sp>
        <p:nvSpPr>
          <p:cNvPr id="107" name="ZoneTexte 106">
            <a:extLst>
              <a:ext uri="{FF2B5EF4-FFF2-40B4-BE49-F238E27FC236}">
                <a16:creationId xmlns:a16="http://schemas.microsoft.com/office/drawing/2014/main" id="{BF9AC984-E943-0C69-3FE9-40B010E39B48}"/>
              </a:ext>
            </a:extLst>
          </p:cNvPr>
          <p:cNvSpPr txBox="1"/>
          <p:nvPr/>
        </p:nvSpPr>
        <p:spPr>
          <a:xfrm>
            <a:off x="11431708" y="4673985"/>
            <a:ext cx="46968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200" b="1" i="1" dirty="0" err="1">
                <a:solidFill>
                  <a:srgbClr val="E74B00"/>
                </a:solidFill>
              </a:rPr>
              <a:t>before</a:t>
            </a:r>
            <a:endParaRPr lang="fr-FR" sz="1200" b="1" i="1" dirty="0">
              <a:solidFill>
                <a:srgbClr val="E74B00"/>
              </a:solidFill>
            </a:endParaRPr>
          </a:p>
        </p:txBody>
      </p:sp>
      <p:sp>
        <p:nvSpPr>
          <p:cNvPr id="5" name="Rettangolo arrotondato 79">
            <a:extLst>
              <a:ext uri="{FF2B5EF4-FFF2-40B4-BE49-F238E27FC236}">
                <a16:creationId xmlns:a16="http://schemas.microsoft.com/office/drawing/2014/main" id="{1659DFCC-2165-65E8-55BD-6DB71CFDE87C}"/>
              </a:ext>
            </a:extLst>
          </p:cNvPr>
          <p:cNvSpPr/>
          <p:nvPr/>
        </p:nvSpPr>
        <p:spPr>
          <a:xfrm>
            <a:off x="9519726" y="390089"/>
            <a:ext cx="2380629" cy="396000"/>
          </a:xfrm>
          <a:prstGeom prst="roundRect">
            <a:avLst>
              <a:gd name="adj" fmla="val 50000"/>
            </a:avLst>
          </a:prstGeom>
          <a:solidFill>
            <a:srgbClr val="E7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err="1">
              <a:ln>
                <a:noFill/>
              </a:ln>
            </a:endParaRPr>
          </a:p>
        </p:txBody>
      </p:sp>
      <p:sp>
        <p:nvSpPr>
          <p:cNvPr id="6" name="Segnaposto testo 71">
            <a:extLst>
              <a:ext uri="{FF2B5EF4-FFF2-40B4-BE49-F238E27FC236}">
                <a16:creationId xmlns:a16="http://schemas.microsoft.com/office/drawing/2014/main" id="{1680CDC2-2363-6353-F323-80F09D4B6FBE}"/>
              </a:ext>
            </a:extLst>
          </p:cNvPr>
          <p:cNvSpPr txBox="1">
            <a:spLocks/>
          </p:cNvSpPr>
          <p:nvPr/>
        </p:nvSpPr>
        <p:spPr>
          <a:xfrm>
            <a:off x="9687915" y="390212"/>
            <a:ext cx="2034723" cy="395288"/>
          </a:xfrm>
          <a:prstGeom prst="rect">
            <a:avLst/>
          </a:prstGeom>
        </p:spPr>
        <p:txBody>
          <a:bodyPr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/>
              <a:t>Obsolescence</a:t>
            </a:r>
          </a:p>
        </p:txBody>
      </p:sp>
      <p:sp>
        <p:nvSpPr>
          <p:cNvPr id="7" name="Freccia a destra 9">
            <a:extLst>
              <a:ext uri="{FF2B5EF4-FFF2-40B4-BE49-F238E27FC236}">
                <a16:creationId xmlns:a16="http://schemas.microsoft.com/office/drawing/2014/main" id="{0F13FEF3-61A6-5747-F768-A1E202BE5E45}"/>
              </a:ext>
            </a:extLst>
          </p:cNvPr>
          <p:cNvSpPr/>
          <p:nvPr/>
        </p:nvSpPr>
        <p:spPr>
          <a:xfrm rot="10800000">
            <a:off x="9041079" y="5958553"/>
            <a:ext cx="383149" cy="177110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err="1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DDEDCB25-E1C1-0A8F-2B8B-0BDAA625C2AB}"/>
              </a:ext>
            </a:extLst>
          </p:cNvPr>
          <p:cNvSpPr txBox="1"/>
          <p:nvPr/>
        </p:nvSpPr>
        <p:spPr>
          <a:xfrm>
            <a:off x="9097897" y="4792710"/>
            <a:ext cx="299849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fontAlgn="ctr" latinLnBrk="0" hangingPunct="1">
              <a:buClr>
                <a:srgbClr val="000000"/>
              </a:buClr>
              <a:buSzPts val="1400"/>
              <a:buFont typeface="Wingdings" panose="05000000000000000000" pitchFamily="2" charset="2"/>
              <a:buNone/>
            </a:pPr>
            <a:r>
              <a:rPr lang="en-GB" sz="4400" b="1" i="0" u="none" strike="noStrike" kern="1200" baseline="0" noProof="0">
                <a:solidFill>
                  <a:srgbClr val="00B050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lang="en-GB" sz="4400" b="1" i="0" u="none" strike="noStrike" kern="1200" baseline="0" noProof="0">
              <a:solidFill>
                <a:srgbClr val="00B050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79CB378-BDCB-C0A4-4E22-FB881C67361B}"/>
              </a:ext>
            </a:extLst>
          </p:cNvPr>
          <p:cNvSpPr txBox="1"/>
          <p:nvPr/>
        </p:nvSpPr>
        <p:spPr>
          <a:xfrm>
            <a:off x="10348869" y="4505526"/>
            <a:ext cx="35863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fontAlgn="ctr" latinLnBrk="0" hangingPunct="1">
              <a:buClr>
                <a:srgbClr val="000000"/>
              </a:buClr>
              <a:buSzPts val="1400"/>
              <a:buFont typeface="Wingdings" panose="05000000000000000000" pitchFamily="2" charset="2"/>
              <a:buNone/>
            </a:pPr>
            <a:r>
              <a:rPr lang="en-GB" sz="4800" b="1" i="0" u="none" strike="noStrike" kern="1200" baseline="0" noProof="0">
                <a:solidFill>
                  <a:srgbClr val="FF0000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  <a:sym typeface="Wingdings" panose="05000000000000000000" pitchFamily="2" charset="2"/>
              </a:rPr>
              <a:t></a:t>
            </a:r>
            <a:endParaRPr lang="en-GB" sz="4800" b="1" i="0" u="none" strike="noStrike" kern="1200" baseline="0" noProof="0">
              <a:solidFill>
                <a:srgbClr val="FF0000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cs"/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5DBE63F-C758-CC66-234A-EE22AE9A605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295021" y="4994923"/>
            <a:ext cx="1302301" cy="1577503"/>
          </a:xfrm>
          <a:prstGeom prst="rect">
            <a:avLst/>
          </a:prstGeom>
        </p:spPr>
      </p:pic>
      <p:sp>
        <p:nvSpPr>
          <p:cNvPr id="105" name="ZoneTexte 104">
            <a:extLst>
              <a:ext uri="{FF2B5EF4-FFF2-40B4-BE49-F238E27FC236}">
                <a16:creationId xmlns:a16="http://schemas.microsoft.com/office/drawing/2014/main" id="{A5F24B8D-D73D-7670-AA77-078D814C49CD}"/>
              </a:ext>
            </a:extLst>
          </p:cNvPr>
          <p:cNvSpPr txBox="1"/>
          <p:nvPr/>
        </p:nvSpPr>
        <p:spPr>
          <a:xfrm>
            <a:off x="6847933" y="6210306"/>
            <a:ext cx="33182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200" b="1" i="1" dirty="0" err="1">
                <a:solidFill>
                  <a:srgbClr val="E74B00"/>
                </a:solidFill>
              </a:rPr>
              <a:t>after</a:t>
            </a:r>
            <a:endParaRPr lang="fr-FR" sz="1200" b="1" i="1" dirty="0">
              <a:solidFill>
                <a:srgbClr val="E74B00"/>
              </a:solidFill>
            </a:endParaRPr>
          </a:p>
        </p:txBody>
      </p:sp>
      <p:sp>
        <p:nvSpPr>
          <p:cNvPr id="27" name="Rettangolo 40">
            <a:extLst>
              <a:ext uri="{FF2B5EF4-FFF2-40B4-BE49-F238E27FC236}">
                <a16:creationId xmlns:a16="http://schemas.microsoft.com/office/drawing/2014/main" id="{D45D4777-7D8E-4B1A-C03E-748512E11F35}"/>
              </a:ext>
            </a:extLst>
          </p:cNvPr>
          <p:cNvSpPr/>
          <p:nvPr/>
        </p:nvSpPr>
        <p:spPr>
          <a:xfrm>
            <a:off x="9916778" y="4645100"/>
            <a:ext cx="2057034" cy="1927326"/>
          </a:xfrm>
          <a:prstGeom prst="rect">
            <a:avLst/>
          </a:prstGeom>
          <a:noFill/>
          <a:ln w="12700">
            <a:solidFill>
              <a:srgbClr val="C1C2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err="1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EF0A3D85-4DD2-106A-9980-3175F6E462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7298" y="5474649"/>
            <a:ext cx="830839" cy="64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09472A90-EF32-FABD-4D79-262882C7132A}"/>
              </a:ext>
            </a:extLst>
          </p:cNvPr>
          <p:cNvSpPr/>
          <p:nvPr/>
        </p:nvSpPr>
        <p:spPr>
          <a:xfrm>
            <a:off x="9595705" y="5953351"/>
            <a:ext cx="902371" cy="173207"/>
          </a:xfrm>
          <a:prstGeom prst="rect">
            <a:avLst/>
          </a:prstGeom>
          <a:noFill/>
          <a:ln w="12700">
            <a:solidFill>
              <a:srgbClr val="E74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err="1"/>
          </a:p>
        </p:txBody>
      </p:sp>
      <p:sp>
        <p:nvSpPr>
          <p:cNvPr id="30" name="Freccia a destra 9">
            <a:extLst>
              <a:ext uri="{FF2B5EF4-FFF2-40B4-BE49-F238E27FC236}">
                <a16:creationId xmlns:a16="http://schemas.microsoft.com/office/drawing/2014/main" id="{9880753A-A8F5-3AA9-6C0F-656BCF8B2FE6}"/>
              </a:ext>
            </a:extLst>
          </p:cNvPr>
          <p:cNvSpPr/>
          <p:nvPr/>
        </p:nvSpPr>
        <p:spPr>
          <a:xfrm rot="10800000">
            <a:off x="4775018" y="5511220"/>
            <a:ext cx="383149" cy="177110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err="1"/>
          </a:p>
        </p:txBody>
      </p:sp>
      <p:sp>
        <p:nvSpPr>
          <p:cNvPr id="2" name="TextBox 9">
            <a:extLst>
              <a:ext uri="{FF2B5EF4-FFF2-40B4-BE49-F238E27FC236}">
                <a16:creationId xmlns:a16="http://schemas.microsoft.com/office/drawing/2014/main" id="{4A5946F8-1E9D-5FAD-A650-A80B03EE0147}"/>
              </a:ext>
            </a:extLst>
          </p:cNvPr>
          <p:cNvSpPr txBox="1"/>
          <p:nvPr/>
        </p:nvSpPr>
        <p:spPr>
          <a:xfrm>
            <a:off x="199050" y="4826691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  <a:cs typeface="Arial"/>
              </a:rPr>
              <a:t>Can be combined with:</a:t>
            </a:r>
            <a:endParaRPr lang="en-GB" sz="11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3" name="TextBox 9">
            <a:extLst>
              <a:ext uri="{FF2B5EF4-FFF2-40B4-BE49-F238E27FC236}">
                <a16:creationId xmlns:a16="http://schemas.microsoft.com/office/drawing/2014/main" id="{41854FA9-A31F-3FA9-E267-950A67641FFA}"/>
              </a:ext>
            </a:extLst>
          </p:cNvPr>
          <p:cNvSpPr txBox="1"/>
          <p:nvPr/>
        </p:nvSpPr>
        <p:spPr>
          <a:xfrm>
            <a:off x="199050" y="6100191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Machine application: 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7D820F59-F9F3-8FE1-8440-6657A56D286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16200000">
            <a:off x="7369870" y="5127108"/>
            <a:ext cx="1570532" cy="1589453"/>
          </a:xfrm>
          <a:prstGeom prst="rect">
            <a:avLst/>
          </a:prstGeom>
          <a:effectLst>
            <a:softEdge rad="63500"/>
          </a:effectLst>
        </p:spPr>
      </p:pic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80436BC-0CE1-B539-A80B-F3FDCCBDA551}"/>
              </a:ext>
            </a:extLst>
          </p:cNvPr>
          <p:cNvCxnSpPr>
            <a:cxnSpLocks/>
          </p:cNvCxnSpPr>
          <p:nvPr/>
        </p:nvCxnSpPr>
        <p:spPr>
          <a:xfrm>
            <a:off x="10934700" y="2904793"/>
            <a:ext cx="87121" cy="1887917"/>
          </a:xfrm>
          <a:prstGeom prst="straightConnector1">
            <a:avLst/>
          </a:prstGeom>
          <a:ln w="38100">
            <a:solidFill>
              <a:schemeClr val="accent4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egnaposto testo 38">
            <a:extLst>
              <a:ext uri="{FF2B5EF4-FFF2-40B4-BE49-F238E27FC236}">
                <a16:creationId xmlns:a16="http://schemas.microsoft.com/office/drawing/2014/main" id="{C4AFAA68-E81E-9CEE-59F9-001F03943785}"/>
              </a:ext>
            </a:extLst>
          </p:cNvPr>
          <p:cNvSpPr txBox="1">
            <a:spLocks/>
          </p:cNvSpPr>
          <p:nvPr/>
        </p:nvSpPr>
        <p:spPr>
          <a:xfrm>
            <a:off x="8421624" y="1246892"/>
            <a:ext cx="3090672" cy="630411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4000">
                <a:schemeClr val="accent2">
                  <a:lumMod val="0"/>
                  <a:lumOff val="100000"/>
                </a:schemeClr>
              </a:gs>
              <a:gs pos="100000">
                <a:srgbClr val="FFFF00"/>
              </a:gs>
            </a:gsLst>
            <a:lin ang="16200000" scaled="1"/>
            <a:tileRect/>
          </a:gradFill>
          <a:ln w="12700">
            <a:noFill/>
          </a:ln>
          <a:effectLst>
            <a:softEdge rad="31750"/>
          </a:effectLst>
        </p:spPr>
        <p:txBody>
          <a:bodyPr lIns="0" tIns="144000" rIns="0" bIns="108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encoder location can be different upon </a:t>
            </a:r>
            <a:b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trix blower generation</a:t>
            </a:r>
            <a:endParaRPr lang="it-IT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it-IT" sz="105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1F8D284F-6554-0E26-6667-1CE9C5E73150}"/>
              </a:ext>
            </a:extLst>
          </p:cNvPr>
          <p:cNvSpPr/>
          <p:nvPr/>
        </p:nvSpPr>
        <p:spPr>
          <a:xfrm rot="20467509">
            <a:off x="7893670" y="2186132"/>
            <a:ext cx="2015668" cy="1377246"/>
          </a:xfrm>
          <a:prstGeom prst="ellipse">
            <a:avLst/>
          </a:prstGeom>
          <a:noFill/>
          <a:ln w="12700">
            <a:solidFill>
              <a:srgbClr val="FFFF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84DD620F-E8F9-C3A8-6EBD-901A1C89D33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893685" y="1788319"/>
            <a:ext cx="430583" cy="148203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002826C-CA6B-7E6F-A67D-890D35EF5FC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819727" y="1820531"/>
            <a:ext cx="575769" cy="1499389"/>
          </a:xfrm>
          <a:prstGeom prst="rect">
            <a:avLst/>
          </a:prstGeom>
        </p:spPr>
      </p:pic>
      <p:sp>
        <p:nvSpPr>
          <p:cNvPr id="31" name="Triangle isocèle 30">
            <a:extLst>
              <a:ext uri="{FF2B5EF4-FFF2-40B4-BE49-F238E27FC236}">
                <a16:creationId xmlns:a16="http://schemas.microsoft.com/office/drawing/2014/main" id="{554A81AB-7D07-B912-C858-CC985B7D3326}"/>
              </a:ext>
            </a:extLst>
          </p:cNvPr>
          <p:cNvSpPr/>
          <p:nvPr/>
        </p:nvSpPr>
        <p:spPr>
          <a:xfrm rot="16200000">
            <a:off x="9179733" y="2085887"/>
            <a:ext cx="563963" cy="197000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sp>
        <p:nvSpPr>
          <p:cNvPr id="24" name="Segnaposto testo 38">
            <a:extLst>
              <a:ext uri="{FF2B5EF4-FFF2-40B4-BE49-F238E27FC236}">
                <a16:creationId xmlns:a16="http://schemas.microsoft.com/office/drawing/2014/main" id="{98995659-31F8-8349-C3F6-D9CA1969D416}"/>
              </a:ext>
            </a:extLst>
          </p:cNvPr>
          <p:cNvSpPr txBox="1">
            <a:spLocks/>
          </p:cNvSpPr>
          <p:nvPr/>
        </p:nvSpPr>
        <p:spPr>
          <a:xfrm>
            <a:off x="9560212" y="1733160"/>
            <a:ext cx="2432737" cy="91659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4000">
                <a:schemeClr val="accent2">
                  <a:lumMod val="0"/>
                  <a:lumOff val="100000"/>
                </a:schemeClr>
              </a:gs>
              <a:gs pos="100000">
                <a:srgbClr val="FFFF00"/>
              </a:gs>
            </a:gsLst>
            <a:lin ang="16200000" scaled="1"/>
            <a:tileRect/>
          </a:gradFill>
          <a:ln w="12700">
            <a:noFill/>
          </a:ln>
          <a:effectLst>
            <a:softEdge rad="63500"/>
          </a:effectLst>
        </p:spPr>
        <p:txBody>
          <a:bodyPr lIns="0" tIns="144000" rIns="0" bIns="108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Encoder relocation </a:t>
            </a: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upgrade #2061</a:t>
            </a:r>
            <a:b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is proposed </a:t>
            </a: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as single solution  </a:t>
            </a:r>
            <a:b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   for early generation, including</a:t>
            </a:r>
            <a:b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   encoder replacement, </a:t>
            </a:r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</a:rPr>
              <a:t>instead of</a:t>
            </a:r>
            <a:b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</a:rPr>
              <a:t>   OCB004</a:t>
            </a:r>
            <a:endParaRPr lang="it-IT" sz="11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9BD8486-2F7E-CB7C-696F-17DF7322A0EF}"/>
              </a:ext>
            </a:extLst>
          </p:cNvPr>
          <p:cNvSpPr/>
          <p:nvPr/>
        </p:nvSpPr>
        <p:spPr>
          <a:xfrm>
            <a:off x="8371027" y="2091866"/>
            <a:ext cx="538504" cy="2577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DDAD4C1A-DD43-86CA-F584-2BC373FF3D3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324268" y="2236823"/>
            <a:ext cx="605748" cy="1251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124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 Sidel Template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delTemplate23New" id="{14E81A65-1CF6-A941-AF8F-B19A67DCB5CB}" vid="{CE47348C-591B-C342-A57F-D29024C34C7F}"/>
    </a:ext>
  </a:extLst>
</a:theme>
</file>

<file path=ppt/theme/theme2.xml><?xml version="1.0" encoding="utf-8"?>
<a:theme xmlns:a="http://schemas.openxmlformats.org/drawingml/2006/main" name="0_NewSidel_Template_202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del TemplateLong-2023" id="{53F3E535-6821-4231-BC8F-D2B918F18065}" vid="{D320BF58-3C7D-4D20-91B1-A4FF8F21C746}"/>
    </a:ext>
  </a:extLst>
</a:theme>
</file>

<file path=ppt/theme/theme3.xml><?xml version="1.0" encoding="utf-8"?>
<a:theme xmlns:a="http://schemas.openxmlformats.org/drawingml/2006/main" name="New Sidel Template 202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delTemplate23New-long" id="{16F27F92-AA9D-7B43-BA82-8138A208B1E4}" vid="{FBFFC02A-1B95-D14A-AB1E-00348F7AA1F7}"/>
    </a:ext>
  </a:extLst>
</a:theme>
</file>

<file path=ppt/theme/theme4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E68AB9D4A8064AA436EDC9C00D82B4" ma:contentTypeVersion="16" ma:contentTypeDescription="Create a new document." ma:contentTypeScope="" ma:versionID="1b4a0d9bf0532241072c620303052de3">
  <xsd:schema xmlns:xsd="http://www.w3.org/2001/XMLSchema" xmlns:xs="http://www.w3.org/2001/XMLSchema" xmlns:p="http://schemas.microsoft.com/office/2006/metadata/properties" xmlns:ns2="7d5dec9a-9e8b-443d-b3d9-4436fe769d7c" xmlns:ns3="287c254b-2107-4f11-bbf4-c30bafcb0414" targetNamespace="http://schemas.microsoft.com/office/2006/metadata/properties" ma:root="true" ma:fieldsID="de1ddccee5f77384a3e090e26f3f60a6" ns2:_="" ns3:_="">
    <xsd:import namespace="7d5dec9a-9e8b-443d-b3d9-4436fe769d7c"/>
    <xsd:import namespace="287c254b-2107-4f11-bbf4-c30bafcb04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dec9a-9e8b-443d-b3d9-4436fe769d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52679c2-c04b-4011-ba15-776f13b0ba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7c254b-2107-4f11-bbf4-c30bafcb041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fe2d8bf8-3f35-4aba-9ea5-a5010605ad82}" ma:internalName="TaxCatchAll" ma:showField="CatchAllData" ma:web="287c254b-2107-4f11-bbf4-c30bafcb04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87c254b-2107-4f11-bbf4-c30bafcb0414" xsi:nil="true"/>
    <lcf76f155ced4ddcb4097134ff3c332f xmlns="7d5dec9a-9e8b-443d-b3d9-4436fe769d7c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D28F6FE-DFFE-40CE-8777-56B2AFD22A2F}">
  <ds:schemaRefs>
    <ds:schemaRef ds:uri="287c254b-2107-4f11-bbf4-c30bafcb0414"/>
    <ds:schemaRef ds:uri="7d5dec9a-9e8b-443d-b3d9-4436fe769d7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3F0269C-285F-45CB-8CDF-3370B0ABDD72}">
  <ds:schemaRefs>
    <ds:schemaRef ds:uri="287c254b-2107-4f11-bbf4-c30bafcb0414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purl.org/dc/terms/"/>
    <ds:schemaRef ds:uri="7d5dec9a-9e8b-443d-b3d9-4436fe769d7c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F27228B-82C6-4BEA-8A29-914E4C6016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 Template</Template>
  <TotalTime>1236</TotalTime>
  <Words>213</Words>
  <Application>Microsoft Office PowerPoint</Application>
  <PresentationFormat>Grand écran</PresentationFormat>
  <Paragraphs>34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9" baseType="lpstr">
      <vt:lpstr>Arial</vt:lpstr>
      <vt:lpstr>Arial Nova Cond</vt:lpstr>
      <vt:lpstr>Calibri</vt:lpstr>
      <vt:lpstr>Wingdings</vt:lpstr>
      <vt:lpstr>New Sidel Template</vt:lpstr>
      <vt:lpstr>0_NewSidel_Template_2023</vt:lpstr>
      <vt:lpstr>New Sidel Template 2023</vt:lpstr>
      <vt:lpstr>think-cell Folie</vt:lpstr>
      <vt:lpstr>Présentation PowerPoi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test solutions released</dc:title>
  <dc:creator>Le Meteil, Guillaume</dc:creator>
  <cp:lastModifiedBy>Faure, Didier</cp:lastModifiedBy>
  <cp:revision>2</cp:revision>
  <dcterms:created xsi:type="dcterms:W3CDTF">2024-10-08T10:23:28Z</dcterms:created>
  <dcterms:modified xsi:type="dcterms:W3CDTF">2025-12-15T18:28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8-27T10:17:47Z</vt:lpwstr>
  </property>
  <property fmtid="{D5CDD505-2E9C-101B-9397-08002B2CF9AE}" pid="6" name="MSIP_Label_94480757-a570-4f64-84e7-c5b3ffe9d573_Method">
    <vt:lpwstr>Privilege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>92cf1a8d-d67b-4290-8333-f499519532ce</vt:lpwstr>
  </property>
  <property fmtid="{D5CDD505-2E9C-101B-9397-08002B2CF9AE}" pid="10" name="MSIP_Label_94480757-a570-4f64-84e7-c5b3ffe9d573_ContentBits">
    <vt:lpwstr>2</vt:lpwstr>
  </property>
  <property fmtid="{D5CDD505-2E9C-101B-9397-08002B2CF9AE}" pid="11" name="ContentTypeId">
    <vt:lpwstr>0x010100A9E68AB9D4A8064AA436EDC9C00D82B4</vt:lpwstr>
  </property>
  <property fmtid="{D5CDD505-2E9C-101B-9397-08002B2CF9AE}" pid="12" name="MediaServiceImageTags">
    <vt:lpwstr/>
  </property>
</Properties>
</file>